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6.xml" ContentType="application/vnd.openxmlformats-officedocument.presentationml.tags+xml"/>
  <Override PartName="/ppt/notesSlides/notesSlide3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4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5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6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7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8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9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0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1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2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3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4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5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6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7.xml" ContentType="application/vnd.openxmlformats-officedocument.presentationml.notesSlide+xml"/>
  <Override PartName="/ppt/tags/tag95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4"/>
    <p:sldMasterId id="2147483800" r:id="rId5"/>
  </p:sldMasterIdLst>
  <p:notesMasterIdLst>
    <p:notesMasterId r:id="rId25"/>
  </p:notesMasterIdLst>
  <p:handoutMasterIdLst>
    <p:handoutMasterId r:id="rId26"/>
  </p:handoutMasterIdLst>
  <p:sldIdLst>
    <p:sldId id="268" r:id="rId6"/>
    <p:sldId id="1007" r:id="rId7"/>
    <p:sldId id="387" r:id="rId8"/>
    <p:sldId id="500" r:id="rId9"/>
    <p:sldId id="1028" r:id="rId10"/>
    <p:sldId id="952" r:id="rId11"/>
    <p:sldId id="991" r:id="rId12"/>
    <p:sldId id="972" r:id="rId13"/>
    <p:sldId id="1049" r:id="rId14"/>
    <p:sldId id="1050" r:id="rId15"/>
    <p:sldId id="1031" r:id="rId16"/>
    <p:sldId id="1045" r:id="rId17"/>
    <p:sldId id="1017" r:id="rId18"/>
    <p:sldId id="1022" r:id="rId19"/>
    <p:sldId id="1024" r:id="rId20"/>
    <p:sldId id="1051" r:id="rId21"/>
    <p:sldId id="1021" r:id="rId22"/>
    <p:sldId id="468" r:id="rId23"/>
    <p:sldId id="452" r:id="rId24"/>
  </p:sldIdLst>
  <p:sldSz cx="12192000" cy="6858000"/>
  <p:notesSz cx="6797675" cy="9926638"/>
  <p:custDataLst>
    <p:tags r:id="rId27"/>
  </p:custDataLst>
  <p:defaultTextStyle>
    <a:defPPr>
      <a:defRPr lang="es-ES"/>
    </a:defPPr>
    <a:lvl1pPr marL="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6895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3790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0684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758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4477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1372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8266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5161" algn="l" defTabSz="913790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E5F0"/>
    <a:srgbClr val="FBD5B7"/>
    <a:srgbClr val="D5E5EE"/>
    <a:srgbClr val="FCE3D4"/>
    <a:srgbClr val="E7E6E6"/>
    <a:srgbClr val="E389A0"/>
    <a:srgbClr val="D5E5EF"/>
    <a:srgbClr val="DEEBF4"/>
    <a:srgbClr val="EEF5F9"/>
    <a:srgbClr val="E9F2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67" autoAdjust="0"/>
    <p:restoredTop sz="62154" autoAdjust="0"/>
  </p:normalViewPr>
  <p:slideViewPr>
    <p:cSldViewPr snapToObjects="1" showGuides="1">
      <p:cViewPr varScale="1">
        <p:scale>
          <a:sx n="108" d="100"/>
          <a:sy n="108" d="100"/>
        </p:scale>
        <p:origin x="2214" y="108"/>
      </p:cViewPr>
      <p:guideLst>
        <p:guide orient="horz" pos="302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 showGuides="1">
      <p:cViewPr varScale="1">
        <p:scale>
          <a:sx n="76" d="100"/>
          <a:sy n="76" d="100"/>
        </p:scale>
        <p:origin x="402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24/10/2024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24/10/2024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387" rtl="0" eaLnBrk="1" latinLnBrk="0" hangingPunct="1">
      <a:defRPr sz="1599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60919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2pPr>
    <a:lvl3pPr marL="1218387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3pPr>
    <a:lvl4pPr marL="182758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4pPr>
    <a:lvl5pPr marL="2436774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5pPr>
    <a:lvl6pPr marL="304596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6pPr>
    <a:lvl7pPr marL="3655161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7pPr>
    <a:lvl8pPr marL="4264355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8pPr>
    <a:lvl9pPr marL="4873548" algn="l" defTabSz="1218387" rtl="0" eaLnBrk="1" latinLnBrk="0" hangingPunct="1">
      <a:defRPr sz="15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860535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F18B82-926F-AB97-7FFC-E3EF6B599A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F7C6F1D-9819-3125-1BAB-08381074FA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40B1B1A9-B924-CD6B-9E3D-31380EFEC7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s-ES" b="0" i="0" dirty="0">
              <a:solidFill>
                <a:srgbClr val="ECECEC"/>
              </a:solidFill>
              <a:effectLst/>
              <a:highlight>
                <a:srgbClr val="212121"/>
              </a:highlight>
              <a:latin typeface="Söhne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0A4B2FA-BCFB-02C9-0883-2B666154A7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894919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127936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s-ES" b="0" i="0" dirty="0">
              <a:solidFill>
                <a:srgbClr val="ECECEC"/>
              </a:solidFill>
              <a:effectLst/>
              <a:highlight>
                <a:srgbClr val="212121"/>
              </a:highlight>
              <a:latin typeface="Söhne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839505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438114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s-MX" sz="16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576965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787008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D56C57-A8D8-60CE-B234-B2C887BDC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3E762931-2A59-B360-0786-3281B3031E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BE9CBCD9-ACC4-BBE2-A156-A7E1849483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0151609-9D7A-7533-C409-6C6E33D188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482672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s-MX" sz="16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604297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39317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59222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83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30957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s-ES" dirty="0"/>
            </a:b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25130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s-ES" b="0" i="0" dirty="0">
              <a:solidFill>
                <a:srgbClr val="ECECEC"/>
              </a:solidFill>
              <a:effectLst/>
              <a:highlight>
                <a:srgbClr val="212121"/>
              </a:highlight>
              <a:latin typeface="Söhne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007197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184959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None/>
            </a:pPr>
            <a:endParaRPr lang="es-ES" b="0" i="0" dirty="0">
              <a:solidFill>
                <a:srgbClr val="ECECEC"/>
              </a:solidFill>
              <a:effectLst/>
              <a:highlight>
                <a:srgbClr val="212121"/>
              </a:highlight>
              <a:latin typeface="Söhne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005388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938019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662D6F-9FF0-3000-FC64-CBA26E2290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735C95EC-34A7-97E5-B2EA-49C94FC30F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E5323AC-5341-9837-07ED-9B829FD137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None/>
            </a:pPr>
            <a:endParaRPr lang="es-ES" b="0" i="0" dirty="0">
              <a:solidFill>
                <a:srgbClr val="ECECEC"/>
              </a:solidFill>
              <a:effectLst/>
              <a:highlight>
                <a:srgbClr val="212121"/>
              </a:highlight>
              <a:latin typeface="Söhne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A9D1564-7245-BD8D-191E-1AC2B82BBD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36394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Relationship Id="rId9" Type="http://schemas.microsoft.com/office/2007/relationships/hdphoto" Target="../media/hdphoto2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5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9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9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9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.bin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4" y="4414944"/>
            <a:ext cx="5651500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2428697"/>
            <a:ext cx="631074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/>
            </a:lvl1pPr>
          </a:lstStyle>
          <a:p>
            <a:r>
              <a:rPr lang="es-ES" dirty="0"/>
              <a:t>Haga clic para </a:t>
            </a:r>
            <a:br>
              <a:rPr lang="es-ES" dirty="0"/>
            </a:br>
            <a:r>
              <a:rPr lang="es-ES" dirty="0"/>
              <a:t>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4" y="4853097"/>
            <a:ext cx="5651500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986371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 userDrawn="1"/>
        </p:nvGrpSpPr>
        <p:grpSpPr>
          <a:xfrm>
            <a:off x="6846376" y="1346032"/>
            <a:ext cx="2093250" cy="3698006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2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 userDrawn="1"/>
        </p:nvGrpSpPr>
        <p:grpSpPr>
          <a:xfrm>
            <a:off x="8154785" y="1346032"/>
            <a:ext cx="2093250" cy="3698006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7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 userDrawn="1"/>
        </p:nvGrpSpPr>
        <p:grpSpPr>
          <a:xfrm>
            <a:off x="9463196" y="1346032"/>
            <a:ext cx="2093250" cy="3698006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2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pic>
        <p:nvPicPr>
          <p:cNvPr id="30" name="Imagen 29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671" y="6048720"/>
            <a:ext cx="1822499" cy="399112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5307" y="6092247"/>
            <a:ext cx="1562594" cy="361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3" y="1592921"/>
            <a:ext cx="681892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7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798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Forma libre 3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4328250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0" y="2444755"/>
            <a:ext cx="5760000" cy="35771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523" y="6381328"/>
            <a:ext cx="1074901" cy="248392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111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60" y="3190461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6" y="3533835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8" y="3750358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4" y="1592921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1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6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3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66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253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6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3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66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8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252540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70" y="716494"/>
            <a:ext cx="9475766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8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 userDrawn="1"/>
        </p:nvSpPr>
        <p:spPr>
          <a:xfrm>
            <a:off x="1430582" y="1207944"/>
            <a:ext cx="8640000" cy="5111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Aft>
                <a:spcPts val="1400"/>
              </a:spcAft>
            </a:pPr>
            <a:r>
              <a:rPr lang="es-ES" sz="1200" dirty="0">
                <a:solidFill>
                  <a:srgbClr val="646E78"/>
                </a:solidFill>
              </a:rPr>
              <a:t>Toda la información contenida en el presente documento y sus anexos, tiene carácter confidencial, y sólo puede ser utilizada con el fin de ser evaluada por el destinatario (sea cliente, proveedor, colaborador, partner, etc.) de la misma y a los solos efectos de conducir los tratos comerciales, o de otra naturaleza, que motivan el envío del documento (en lo sucesivo, el “Propósito”).</a:t>
            </a:r>
          </a:p>
          <a:p>
            <a:pPr>
              <a:lnSpc>
                <a:spcPct val="100000"/>
              </a:lnSpc>
              <a:spcAft>
                <a:spcPts val="1400"/>
              </a:spcAft>
            </a:pPr>
            <a:r>
              <a:rPr lang="es-ES" sz="1200" dirty="0">
                <a:solidFill>
                  <a:srgbClr val="646E78"/>
                </a:solidFill>
              </a:rPr>
              <a:t>La información aquí presentada es propiedad de Ia sociedad del grupo controlado por Indra Holding TI, S.L.U.  que suscribe el presente documento (en lo sucesivo, “Minsait”), y es constitutiva de secreto empresarial (también denominado en determinadas jurisdicciones, secreto comercial), y además, puede estar protegida por derechos de autor, derechos afines, patente, modelo de utilidad y/o diseño industrial por lo que queda terminantemente prohibida su divulgación y/o transmisión a terceros sin el permiso previo, expreso y por escrito de Minsait.</a:t>
            </a:r>
          </a:p>
          <a:p>
            <a:pPr>
              <a:lnSpc>
                <a:spcPct val="100000"/>
              </a:lnSpc>
              <a:spcAft>
                <a:spcPts val="1400"/>
              </a:spcAft>
            </a:pPr>
            <a:r>
              <a:rPr lang="es-ES" sz="1200" dirty="0">
                <a:solidFill>
                  <a:srgbClr val="646E78"/>
                </a:solidFill>
              </a:rPr>
              <a:t>Se limitará al máximo el acceso a la información confidencial por parte del personal del destinatario de la misma, o del personal de aquellos terceros a los que Minsait haya autorizado a acceder a la información confidencial, limitándose únicamente a aquellas personas cuyo acceso resulte estrictamente necesario, y debiendo el destinatario de la información confidencial garantizar que informa a dichas personas del carácter confidencial y propietario de la información así como del Propósito, asegurando que dicho personal trata la información confidencial única y exclusivamente para el Propósito, y absteniéndose de toda divulgación. Una vez finalizado o concluido el Propósito, el cliente debe restituir a Minsait toda la información confidencial sin conservar ninguna copia de la misma, no pudiendo utilizar de ninguna manera, ni para ningún fin la información confidencial y/o propietaria facilitada por Minsait salvo que haya sido autorizado para ello previa y expresamente por escrito por Minsait.</a:t>
            </a:r>
          </a:p>
          <a:p>
            <a:pPr>
              <a:lnSpc>
                <a:spcPct val="100000"/>
              </a:lnSpc>
              <a:spcAft>
                <a:spcPts val="1400"/>
              </a:spcAft>
            </a:pPr>
            <a:r>
              <a:rPr lang="es-ES" sz="1200" dirty="0">
                <a:solidFill>
                  <a:srgbClr val="646E78"/>
                </a:solidFill>
              </a:rPr>
              <a:t>El destinatario de la información confidencial, después de finalizado el Propósito, no podrá utilizar de ninguna manera ni para ningún fin la información confidencial y/o propietaria facilitada por Minsait.</a:t>
            </a:r>
          </a:p>
          <a:p>
            <a:pPr>
              <a:lnSpc>
                <a:spcPct val="100000"/>
              </a:lnSpc>
              <a:spcAft>
                <a:spcPts val="1400"/>
              </a:spcAft>
            </a:pPr>
            <a:r>
              <a:rPr lang="es-ES" sz="1200" dirty="0">
                <a:solidFill>
                  <a:srgbClr val="646E78"/>
                </a:solidFill>
              </a:rPr>
              <a:t>Copyright © 2020 Minsait. Todos los derechos reservados. España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523" y="6381328"/>
            <a:ext cx="1074901" cy="24839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2355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anj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738736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marillo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99" y="649095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1" y="357000"/>
            <a:ext cx="11521566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088129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375130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de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400719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l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37" y="712437"/>
            <a:ext cx="7553833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7744691" y="3699164"/>
            <a:ext cx="2575779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10128451" y="2715495"/>
            <a:ext cx="1010606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10992544" y="1288475"/>
            <a:ext cx="1383028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892558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sin 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90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7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 n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488895"/>
              </p:ext>
            </p:extLst>
          </p:nvPr>
        </p:nvGraphicFramePr>
        <p:xfrm>
          <a:off x="2117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21166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5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5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48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2991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50865" y="2852739"/>
            <a:ext cx="10585697" cy="32400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None/>
              <a:defRPr sz="24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476251"/>
            <a:ext cx="10585697" cy="9461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ts val="4000"/>
              </a:lnSpc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el título de esta página, </a:t>
            </a:r>
            <a:br>
              <a:rPr lang="es-ES" dirty="0"/>
            </a:br>
            <a:r>
              <a:rPr lang="es-ES" dirty="0"/>
              <a:t>cuentas con dos líneas para títulos extensos</a:t>
            </a:r>
            <a:endParaRPr lang="en-US" dirty="0"/>
          </a:p>
        </p:txBody>
      </p:sp>
      <p:sp>
        <p:nvSpPr>
          <p:cNvPr id="7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50864" y="1700213"/>
            <a:ext cx="10585697" cy="8646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600" b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s-ES" dirty="0"/>
              <a:t>Haga clic para agregar un subtítulo a esta página, cuentas con dos líneas para títulos extensos</a:t>
            </a:r>
          </a:p>
        </p:txBody>
      </p:sp>
      <p:sp>
        <p:nvSpPr>
          <p:cNvPr id="9" name="Marcador de pie de página 1"/>
          <p:cNvSpPr>
            <a:spLocks noGrp="1"/>
          </p:cNvSpPr>
          <p:nvPr>
            <p:ph type="ftr" sz="quarter" idx="3"/>
          </p:nvPr>
        </p:nvSpPr>
        <p:spPr>
          <a:xfrm>
            <a:off x="2279576" y="6597352"/>
            <a:ext cx="5976664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es-ES"/>
              <a:t>Pie de página</a:t>
            </a:r>
            <a:endParaRPr lang="es-ES" dirty="0"/>
          </a:p>
        </p:txBody>
      </p:sp>
      <p:sp>
        <p:nvSpPr>
          <p:cNvPr id="10" name="Marcador de fecha 3"/>
          <p:cNvSpPr>
            <a:spLocks noGrp="1"/>
          </p:cNvSpPr>
          <p:nvPr>
            <p:ph type="dt" sz="half" idx="2"/>
          </p:nvPr>
        </p:nvSpPr>
        <p:spPr>
          <a:xfrm>
            <a:off x="8761826" y="6597652"/>
            <a:ext cx="2158711" cy="2603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08741D6E-E222-4456-ACBA-8590B1B20F63}" type="datetimeFigureOut">
              <a:rPr lang="es-ES" smtClean="0"/>
              <a:pPr/>
              <a:t>24/10/202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16616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906161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34" y="712436"/>
            <a:ext cx="7553833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3" b="0" i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7744691" y="3699164"/>
            <a:ext cx="2575779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10128449" y="2715492"/>
            <a:ext cx="1010607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10992545" y="1288473"/>
            <a:ext cx="1383028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5886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7741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2" y="383588"/>
            <a:ext cx="3725333" cy="2147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2" y="689239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3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1" y="986368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9953" y="2873078"/>
            <a:ext cx="662681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6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1746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1" y="3311237"/>
            <a:ext cx="4842163" cy="2480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2" y="3743044"/>
            <a:ext cx="3725333" cy="15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333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1" y="382573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674" y="1421648"/>
            <a:ext cx="756399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3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1974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1" y="4414944"/>
            <a:ext cx="5651500" cy="2904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2428696"/>
            <a:ext cx="6310745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3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6001" y="4853095"/>
            <a:ext cx="5651500" cy="1994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6001" y="986368"/>
            <a:ext cx="1799167" cy="6392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33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85667" y="6337300"/>
            <a:ext cx="1444604" cy="17628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5011" y="6118993"/>
            <a:ext cx="1795156" cy="35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9188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35" y="2444255"/>
            <a:ext cx="1775333" cy="35776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defRPr sz="1867" b="0" i="0">
                <a:solidFill>
                  <a:schemeClr val="tx1"/>
                </a:solidFill>
                <a:latin typeface="Soho Gothic Pro Light" panose="020B0303030504020204" pitchFamily="34" charset="77"/>
              </a:defRPr>
            </a:lvl1pPr>
          </a:lstStyle>
          <a:p>
            <a:r>
              <a:rPr lang="es-ES" dirty="0"/>
              <a:t>Capítulo 1</a:t>
            </a:r>
            <a:endParaRPr lang="en-US" dirty="0"/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989319FE-DC35-E14F-A834-B4EB71C6AF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303669" y="2444254"/>
            <a:ext cx="1802664" cy="3577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5288017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24218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336000" y="645584"/>
            <a:ext cx="11017800" cy="863601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/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20299" y="6342714"/>
            <a:ext cx="1291167" cy="13428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>
                <a:solidFill>
                  <a:schemeClr val="tx1"/>
                </a:solidFill>
                <a:latin typeface="Soho Gothic Pro" panose="020B0503030504020204" pitchFamily="34" charset="77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4328251" y="2232949"/>
            <a:ext cx="7939453" cy="475759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796363" y="894269"/>
            <a:ext cx="7956155" cy="6096272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92286" y="20016"/>
            <a:ext cx="8259460" cy="6970525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5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2413397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1592921"/>
            <a:ext cx="695193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34" y="712436"/>
            <a:ext cx="7553833" cy="7145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333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7744691" y="3699164"/>
            <a:ext cx="2575779" cy="38100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10128449" y="2715492"/>
            <a:ext cx="1010607" cy="4793673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10992545" y="1288473"/>
            <a:ext cx="1383028" cy="6220692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2679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1592918"/>
            <a:ext cx="6951931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466666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693807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22525500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05260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237729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05260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23928486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05260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32211007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05260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4360881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05260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38274909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05260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4" y="1503237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36752089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57" y="3190459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3" y="3533831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9" y="3750355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867"/>
            </a:lvl1pPr>
          </a:lstStyle>
          <a:p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3077456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2" y="1592921"/>
            <a:ext cx="693807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57" y="3190459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3" y="3533831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9" y="3750355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16142845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57" y="3190459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3" y="3533831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9" y="3750355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22313595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57" y="3190459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3" y="3533831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9" y="3750355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6818927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78250809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57" y="3190459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3" y="3533831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9" y="3750355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3714674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57" y="3190459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3" y="3533831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9" y="3750355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7777266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57" y="3190459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3" y="3533831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9" y="3750355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33257555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57" y="3190459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3" y="3533831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9" y="3750355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6733329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67" y="725392"/>
            <a:ext cx="9475767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3771771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67" y="725392"/>
            <a:ext cx="9475767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7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67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1647237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67" y="725392"/>
            <a:ext cx="9475767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0" y="6505495"/>
            <a:ext cx="859200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71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tx1"/>
                </a:solidFill>
              </a:rPr>
              <a:pPr algn="r"/>
              <a:t>‹Nº›</a:t>
            </a:fld>
            <a:endParaRPr lang="es-ES" sz="1066" dirty="0">
              <a:solidFill>
                <a:schemeClr val="tx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67" y="716493"/>
            <a:ext cx="9475767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1067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67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198406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67" y="716495"/>
            <a:ext cx="9475767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0" y="6505495"/>
            <a:ext cx="859200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053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67" y="716493"/>
            <a:ext cx="9475767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0" y="6505495"/>
            <a:ext cx="859200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6183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67" y="716493"/>
            <a:ext cx="9475767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0" y="6505495"/>
            <a:ext cx="859200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01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67" y="716495"/>
            <a:ext cx="9475767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6000" y="6505495"/>
            <a:ext cx="859200" cy="1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622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45930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/>
              <a:ea typeface="+mj-ea"/>
              <a:cs typeface="+mj-cs"/>
              <a:sym typeface="Playfair Display" panose="0000050000000000000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6000" y="6505495"/>
            <a:ext cx="859200" cy="170476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67" y="716493"/>
            <a:ext cx="9475767" cy="52698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tx1"/>
                </a:solidFill>
              </a:rPr>
              <a:pPr algn="r"/>
              <a:t>‹Nº›</a:t>
            </a:fld>
            <a:endParaRPr lang="es-ES" sz="1067" dirty="0">
              <a:solidFill>
                <a:schemeClr val="tx1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7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475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3956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9027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97243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818443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5360" y="2660915"/>
            <a:ext cx="11521280" cy="33603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33"/>
              </a:lnSpc>
              <a:spcBef>
                <a:spcPts val="0"/>
              </a:spcBef>
              <a:spcAft>
                <a:spcPts val="3733"/>
              </a:spcAft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5360" y="1796819"/>
            <a:ext cx="11521280" cy="672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33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7600732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5360" y="2660915"/>
            <a:ext cx="11521280" cy="33603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33"/>
              </a:lnSpc>
              <a:spcBef>
                <a:spcPts val="0"/>
              </a:spcBef>
              <a:spcAft>
                <a:spcPts val="3733"/>
              </a:spcAft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5360" y="1796819"/>
            <a:ext cx="11521280" cy="672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33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1147016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8633457" y="3190459"/>
            <a:ext cx="3839167" cy="398015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6154653" y="3533831"/>
            <a:ext cx="6451367" cy="3440631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647939" y="3750355"/>
            <a:ext cx="4765040" cy="3224107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9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6000" y="3770675"/>
            <a:ext cx="5651499" cy="1146764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867" dirty="0"/>
            </a:lvl1pPr>
          </a:lstStyle>
          <a:p>
            <a:pPr marL="0" lvl="0" indent="0">
              <a:lnSpc>
                <a:spcPct val="100000"/>
              </a:lnSpc>
              <a:spcBef>
                <a:spcPts val="8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1592918"/>
            <a:ext cx="7553833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lum bright="100000" contrast="-70000"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3D07CDD-BB31-BA4B-B06A-F67FBBAD380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</p:spTree>
    <p:extLst>
      <p:ext uri="{BB962C8B-B14F-4D97-AF65-F5344CB8AC3E}">
        <p14:creationId xmlns:p14="http://schemas.microsoft.com/office/powerpoint/2010/main" val="32832463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15575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99" y="649091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21565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1097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999" y="649091"/>
            <a:ext cx="11521567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21565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39326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52049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77936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20376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593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40545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5871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93402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42086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1660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48599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8887255" y="6540533"/>
            <a:ext cx="1145183" cy="24884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336000" y="6506083"/>
            <a:ext cx="858184" cy="171408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ES" sz="2399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1012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7457440" y="40640"/>
            <a:ext cx="4785360" cy="686816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397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5" y="1592921"/>
            <a:ext cx="7052606" cy="16483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081435" y="1503240"/>
            <a:ext cx="3734647" cy="202183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991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6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6" smtClean="0">
                <a:solidFill>
                  <a:schemeClr val="bg1"/>
                </a:solidFill>
              </a:rPr>
              <a:pPr algn="r"/>
              <a:t>‹Nº›</a:t>
            </a:fld>
            <a:endParaRPr lang="es-ES" sz="1066" dirty="0">
              <a:solidFill>
                <a:schemeClr val="bg1"/>
              </a:solidFill>
            </a:endParaRPr>
          </a:p>
        </p:txBody>
      </p:sp>
      <p:sp>
        <p:nvSpPr>
          <p:cNvPr id="12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770676"/>
            <a:ext cx="5760000" cy="2634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/>
            </a:lvl1pPr>
            <a:lvl2pPr marL="456949" indent="0">
              <a:buNone/>
              <a:defRPr/>
            </a:lvl2pPr>
            <a:lvl3pPr marL="913897" indent="0">
              <a:buNone/>
              <a:defRPr/>
            </a:lvl3pPr>
            <a:lvl4pPr marL="1370846" indent="0">
              <a:buNone/>
              <a:defRPr/>
            </a:lvl4pPr>
            <a:lvl5pPr marL="1827794" indent="0">
              <a:buNone/>
              <a:defRPr/>
            </a:lvl5pPr>
          </a:lstStyle>
          <a:p>
            <a:pPr lvl="0"/>
            <a:r>
              <a:rPr lang="es-ES" dirty="0"/>
              <a:t>Editar el subti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EE197712-7F38-BD40-B41B-21C405659A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6381328"/>
            <a:ext cx="1074901" cy="24839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6423596"/>
            <a:ext cx="935624" cy="204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0328936" y="6242389"/>
            <a:ext cx="1871531" cy="642611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sz="2399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9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11472598" y="6501342"/>
            <a:ext cx="382853" cy="3236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1067" smtClean="0">
                <a:solidFill>
                  <a:schemeClr val="bg1"/>
                </a:solidFill>
              </a:rPr>
              <a:pPr algn="r"/>
              <a:t>‹Nº›</a:t>
            </a:fld>
            <a:endParaRPr lang="es-ES" sz="1067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11773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_Endoso_Titu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51853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4" name="12 Marcador de texto">
            <a:extLst>
              <a:ext uri="{FF2B5EF4-FFF2-40B4-BE49-F238E27FC236}">
                <a16:creationId xmlns:a16="http://schemas.microsoft.com/office/drawing/2014/main" id="{E02DB719-3199-3A48-B33B-04FB2F027C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00" y="357000"/>
            <a:ext cx="11519451" cy="25152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056811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644964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667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0" y="649091"/>
            <a:ext cx="11519451" cy="9193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667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8439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47" Type="http://schemas.openxmlformats.org/officeDocument/2006/relationships/slideLayout" Target="../slideLayouts/slideLayout91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slideLayout" Target="../slideLayouts/slideLayout89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slideLayout" Target="../slideLayouts/slideLayout88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slideLayout" Target="../slideLayouts/slideLayout87.xml"/><Relationship Id="rId48" Type="http://schemas.openxmlformats.org/officeDocument/2006/relationships/slideLayout" Target="../slideLayouts/slideLayout92.xml"/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4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8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98" r:id="rId2"/>
    <p:sldLayoutId id="2147483799" r:id="rId3"/>
    <p:sldLayoutId id="2147483771" r:id="rId4"/>
    <p:sldLayoutId id="2147483748" r:id="rId5"/>
    <p:sldLayoutId id="2147483749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46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678" r:id="rId30"/>
    <p:sldLayoutId id="2147483790" r:id="rId31"/>
    <p:sldLayoutId id="2147483669" r:id="rId32"/>
    <p:sldLayoutId id="2147483789" r:id="rId33"/>
    <p:sldLayoutId id="2147483685" r:id="rId34"/>
    <p:sldLayoutId id="2147483792" r:id="rId35"/>
    <p:sldLayoutId id="2147483693" r:id="rId36"/>
    <p:sldLayoutId id="2147483793" r:id="rId37"/>
    <p:sldLayoutId id="2147483701" r:id="rId38"/>
    <p:sldLayoutId id="2147483794" r:id="rId39"/>
    <p:sldLayoutId id="2147483785" r:id="rId40"/>
    <p:sldLayoutId id="2147483795" r:id="rId41"/>
    <p:sldLayoutId id="2147483788" r:id="rId42"/>
    <p:sldLayoutId id="2147483849" r:id="rId43"/>
    <p:sldLayoutId id="2147483850" r:id="rId44"/>
  </p:sldLayoutIdLst>
  <p:hf hdr="0" ftr="0" dt="0"/>
  <p:txStyles>
    <p:titleStyle>
      <a:lvl1pPr algn="l" defTabSz="913897" rtl="0" eaLnBrk="1" latinLnBrk="0" hangingPunct="1">
        <a:lnSpc>
          <a:spcPct val="90000"/>
        </a:lnSpc>
        <a:spcBef>
          <a:spcPct val="0"/>
        </a:spcBef>
        <a:buNone/>
        <a:defRPr sz="4664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228474" indent="-228474" algn="l" defTabSz="913897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68542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371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320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268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217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166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114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063" indent="-228474" algn="l" defTabSz="9138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49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97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46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94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43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691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40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588" algn="l" defTabSz="9138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orient="horz" pos="4035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10" pos="7469" userDrawn="1">
          <p15:clr>
            <a:srgbClr val="F26B43"/>
          </p15:clr>
        </p15:guide>
        <p15:guide id="15" pos="212" userDrawn="1">
          <p15:clr>
            <a:srgbClr val="F26B43"/>
          </p15:clr>
        </p15:guide>
        <p15:guide id="17" orient="horz" pos="769" userDrawn="1">
          <p15:clr>
            <a:srgbClr val="F26B43"/>
          </p15:clr>
        </p15:guide>
        <p15:guide id="18" orient="horz" pos="361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4246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822" r:id="rId22"/>
    <p:sldLayoutId id="2147483823" r:id="rId23"/>
    <p:sldLayoutId id="2147483824" r:id="rId24"/>
    <p:sldLayoutId id="2147483825" r:id="rId25"/>
    <p:sldLayoutId id="2147483826" r:id="rId26"/>
    <p:sldLayoutId id="2147483827" r:id="rId27"/>
    <p:sldLayoutId id="2147483828" r:id="rId28"/>
    <p:sldLayoutId id="2147483829" r:id="rId29"/>
    <p:sldLayoutId id="2147483830" r:id="rId30"/>
    <p:sldLayoutId id="2147483831" r:id="rId31"/>
    <p:sldLayoutId id="2147483832" r:id="rId32"/>
    <p:sldLayoutId id="2147483833" r:id="rId33"/>
    <p:sldLayoutId id="2147483834" r:id="rId34"/>
    <p:sldLayoutId id="2147483835" r:id="rId35"/>
    <p:sldLayoutId id="2147483836" r:id="rId36"/>
    <p:sldLayoutId id="2147483837" r:id="rId37"/>
    <p:sldLayoutId id="2147483838" r:id="rId38"/>
    <p:sldLayoutId id="2147483839" r:id="rId39"/>
    <p:sldLayoutId id="2147483840" r:id="rId40"/>
    <p:sldLayoutId id="2147483841" r:id="rId41"/>
    <p:sldLayoutId id="2147483842" r:id="rId42"/>
    <p:sldLayoutId id="2147483843" r:id="rId43"/>
    <p:sldLayoutId id="2147483844" r:id="rId44"/>
    <p:sldLayoutId id="2147483845" r:id="rId45"/>
    <p:sldLayoutId id="2147483846" r:id="rId46"/>
    <p:sldLayoutId id="2147483847" r:id="rId47"/>
    <p:sldLayoutId id="2147483848" r:id="rId4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667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69">
          <p15:clr>
            <a:srgbClr val="F26B43"/>
          </p15:clr>
        </p15:guide>
        <p15:guide id="4" orient="horz" pos="3072">
          <p15:clr>
            <a:srgbClr val="F26B43"/>
          </p15:clr>
        </p15:guide>
        <p15:guide id="6" pos="2880">
          <p15:clr>
            <a:srgbClr val="F26B43"/>
          </p15:clr>
        </p15:guide>
        <p15:guide id="10" pos="5601">
          <p15:clr>
            <a:srgbClr val="F26B43"/>
          </p15:clr>
        </p15:guide>
        <p15:guide id="15" pos="159">
          <p15:clr>
            <a:srgbClr val="F26B43"/>
          </p15:clr>
        </p15:guide>
        <p15:guide id="17" orient="horz" pos="57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3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6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darkmtrance/spring-boot-memory-optimization" TargetMode="External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7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8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spring.io/spring-boot/docs/current/reference/html/application-properties.html" TargetMode="External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9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8.bin"/><Relationship Id="rId10" Type="http://schemas.openxmlformats.org/officeDocument/2006/relationships/hyperlink" Target="https://www.atamanroman.dev/development/2018/11/10/jvm-memory-settings-container-environment.html" TargetMode="External"/><Relationship Id="rId4" Type="http://schemas.openxmlformats.org/officeDocument/2006/relationships/notesSlide" Target="../notesSlides/notesSlide17.xml"/><Relationship Id="rId9" Type="http://schemas.openxmlformats.org/officeDocument/2006/relationships/hyperlink" Target="https://tomcat.apache.org/tomcat-8.5-doc/config/http.html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95.xml"/><Relationship Id="rId6" Type="http://schemas.openxmlformats.org/officeDocument/2006/relationships/image" Target="../media/image3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9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6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1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2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050" y="2428697"/>
            <a:ext cx="6310745" cy="1792732"/>
          </a:xfrm>
        </p:spPr>
        <p:txBody>
          <a:bodyPr/>
          <a:lstStyle/>
          <a:p>
            <a:r>
              <a:rPr lang="es-ES" sz="4000" dirty="0">
                <a:latin typeface="Georgia" panose="02040502050405020303" pitchFamily="18" charset="0"/>
              </a:rPr>
              <a:t>Optimización de Spring </a:t>
            </a:r>
            <a:r>
              <a:rPr lang="es-ES" sz="4000" dirty="0" err="1">
                <a:latin typeface="Georgia" panose="02040502050405020303" pitchFamily="18" charset="0"/>
              </a:rPr>
              <a:t>Boot</a:t>
            </a:r>
            <a:r>
              <a:rPr lang="es-ES" sz="4000" dirty="0">
                <a:latin typeface="Georgia" panose="02040502050405020303" pitchFamily="18" charset="0"/>
              </a:rPr>
              <a:t>: Eficiencia en Desarrollo y Contenedores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/>
        </p:nvGrpSpPr>
        <p:grpSpPr>
          <a:xfrm>
            <a:off x="6845985" y="1346032"/>
            <a:ext cx="2092160" cy="3698006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3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/>
        </p:nvGrpSpPr>
        <p:grpSpPr>
          <a:xfrm>
            <a:off x="8153713" y="1346032"/>
            <a:ext cx="2092160" cy="3698006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8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/>
        </p:nvGrpSpPr>
        <p:grpSpPr>
          <a:xfrm>
            <a:off x="9461442" y="1346032"/>
            <a:ext cx="2092160" cy="3698006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3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397"/>
            </a:p>
          </p:txBody>
        </p:sp>
      </p:grpSp>
    </p:spTree>
    <p:extLst>
      <p:ext uri="{BB962C8B-B14F-4D97-AF65-F5344CB8AC3E}">
        <p14:creationId xmlns:p14="http://schemas.microsoft.com/office/powerpoint/2010/main" val="332842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14C402-8B04-528D-9A8D-AA2270FF3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6627AE2-6710-2484-28CA-DC732F47E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A0E4CC1A-458B-E33E-9C9B-51FDCC8DE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9E08BEAE-B65A-DF81-76DA-5BAD0C6689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116" name="Marcador de texto 5">
            <a:extLst>
              <a:ext uri="{FF2B5EF4-FFF2-40B4-BE49-F238E27FC236}">
                <a16:creationId xmlns:a16="http://schemas.microsoft.com/office/drawing/2014/main" id="{BB674494-2533-247E-AB4A-2C35927FE5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00" y="365709"/>
            <a:ext cx="11519451" cy="251520"/>
          </a:xfrm>
        </p:spPr>
        <p:txBody>
          <a:bodyPr/>
          <a:lstStyle/>
          <a:p>
            <a:r>
              <a:rPr lang="es-ES" b="1" dirty="0">
                <a:latin typeface="+mj-lt"/>
              </a:rPr>
              <a:t>Optimización de la JVM para Aplicaciones Spring </a:t>
            </a:r>
            <a:r>
              <a:rPr lang="es-ES" b="1" dirty="0" err="1">
                <a:latin typeface="+mj-lt"/>
              </a:rPr>
              <a:t>Boot</a:t>
            </a:r>
            <a:endParaRPr lang="es-ES" dirty="0"/>
          </a:p>
        </p:txBody>
      </p:sp>
      <p:sp>
        <p:nvSpPr>
          <p:cNvPr id="7" name="Título 4">
            <a:extLst>
              <a:ext uri="{FF2B5EF4-FFF2-40B4-BE49-F238E27FC236}">
                <a16:creationId xmlns:a16="http://schemas.microsoft.com/office/drawing/2014/main" id="{5CA26FCD-EE3A-05DF-973D-D2E50B3361E5}"/>
              </a:ext>
            </a:extLst>
          </p:cNvPr>
          <p:cNvSpPr txBox="1">
            <a:spLocks/>
          </p:cNvSpPr>
          <p:nvPr/>
        </p:nvSpPr>
        <p:spPr>
          <a:xfrm>
            <a:off x="335355" y="1124744"/>
            <a:ext cx="11161245" cy="14401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pPr algn="ctr"/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endParaRPr lang="es-PE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D57CEEF2-633D-AEB9-F98B-88CE1E11232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550" y="805563"/>
            <a:ext cx="11428413" cy="1020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PE" sz="2800" dirty="0">
                <a:latin typeface="+mj-lt"/>
              </a:rPr>
              <a:t>Parámetros de JVM para Optimizar Memoria</a:t>
            </a:r>
            <a:endParaRPr lang="es-PE" altLang="es-PE" sz="2800" dirty="0">
              <a:latin typeface="+mj-lt"/>
            </a:endParaRPr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0508BB23-4EA0-9B52-31DF-3621E1CF35FC}"/>
              </a:ext>
            </a:extLst>
          </p:cNvPr>
          <p:cNvSpPr txBox="1">
            <a:spLocks/>
          </p:cNvSpPr>
          <p:nvPr/>
        </p:nvSpPr>
        <p:spPr>
          <a:xfrm>
            <a:off x="346550" y="1826462"/>
            <a:ext cx="11161245" cy="22506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pt-BR" sz="2000" dirty="0" err="1">
                <a:latin typeface="+mj-lt"/>
                <a:ea typeface="+mn-ea"/>
                <a:cs typeface="+mn-cs"/>
              </a:rPr>
              <a:t>Parámetros</a:t>
            </a:r>
            <a:r>
              <a:rPr lang="pt-BR" sz="2000" dirty="0">
                <a:latin typeface="+mj-lt"/>
                <a:ea typeface="+mn-ea"/>
                <a:cs typeface="+mn-cs"/>
              </a:rPr>
              <a:t> de JVM a configurar: </a:t>
            </a:r>
            <a:endParaRPr lang="es-ES" sz="2000" dirty="0">
              <a:latin typeface="+mj-lt"/>
              <a:ea typeface="+mn-ea"/>
              <a:cs typeface="+mn-cs"/>
            </a:endParaRPr>
          </a:p>
          <a:p>
            <a:pPr marL="799795" lvl="1" indent="-342900">
              <a:lnSpc>
                <a:spcPct val="150000"/>
              </a:lnSpc>
              <a:buFontTx/>
              <a:buChar char="-"/>
            </a:pPr>
            <a:r>
              <a:rPr lang="es-ES" sz="2000" b="1" dirty="0">
                <a:highlight>
                  <a:srgbClr val="C0C0C0"/>
                </a:highlight>
                <a:latin typeface="+mj-lt"/>
              </a:rPr>
              <a:t>-XX:+</a:t>
            </a:r>
            <a:r>
              <a:rPr lang="es-ES" sz="2000" b="1" dirty="0" err="1">
                <a:highlight>
                  <a:srgbClr val="C0C0C0"/>
                </a:highlight>
                <a:latin typeface="+mj-lt"/>
              </a:rPr>
              <a:t>UseSerialGC</a:t>
            </a:r>
            <a:r>
              <a:rPr lang="es-ES" sz="2000" dirty="0">
                <a:latin typeface="+mj-lt"/>
              </a:rPr>
              <a:t>: </a:t>
            </a:r>
            <a:r>
              <a:rPr lang="es-ES" sz="2000" dirty="0" err="1">
                <a:latin typeface="+mj-lt"/>
              </a:rPr>
              <a:t>Garbage</a:t>
            </a:r>
            <a:r>
              <a:rPr lang="es-ES" sz="2000" dirty="0">
                <a:latin typeface="+mj-lt"/>
              </a:rPr>
              <a:t> </a:t>
            </a:r>
            <a:r>
              <a:rPr lang="es-ES" sz="2000" dirty="0" err="1">
                <a:latin typeface="+mj-lt"/>
              </a:rPr>
              <a:t>Collector</a:t>
            </a:r>
            <a:r>
              <a:rPr lang="es-ES" sz="2000" dirty="0">
                <a:latin typeface="+mj-lt"/>
              </a:rPr>
              <a:t> más eficiente para entornos de desarrollo. </a:t>
            </a:r>
          </a:p>
          <a:p>
            <a:pPr marL="799795" lvl="1" indent="-342900">
              <a:lnSpc>
                <a:spcPct val="150000"/>
              </a:lnSpc>
              <a:buFontTx/>
              <a:buChar char="-"/>
            </a:pPr>
            <a:r>
              <a:rPr lang="es-ES" sz="2000" b="1" dirty="0">
                <a:highlight>
                  <a:srgbClr val="C0C0C0"/>
                </a:highlight>
                <a:latin typeface="+mj-lt"/>
              </a:rPr>
              <a:t>-Xss512k</a:t>
            </a:r>
            <a:r>
              <a:rPr lang="es-ES" sz="2000" dirty="0">
                <a:latin typeface="+mj-lt"/>
              </a:rPr>
              <a:t>: Reduce la memoria del </a:t>
            </a:r>
            <a:r>
              <a:rPr lang="es-ES" sz="2000" dirty="0" err="1">
                <a:latin typeface="+mj-lt"/>
              </a:rPr>
              <a:t>stack</a:t>
            </a:r>
            <a:r>
              <a:rPr lang="es-ES" sz="2000" dirty="0">
                <a:latin typeface="+mj-lt"/>
              </a:rPr>
              <a:t> por hilo.</a:t>
            </a:r>
          </a:p>
          <a:p>
            <a:pPr marL="799795" lvl="1" indent="-342900">
              <a:lnSpc>
                <a:spcPct val="150000"/>
              </a:lnSpc>
              <a:buFontTx/>
              <a:buChar char="-"/>
            </a:pPr>
            <a:r>
              <a:rPr lang="es-PE" sz="2000" b="1" dirty="0">
                <a:highlight>
                  <a:srgbClr val="C0C0C0"/>
                </a:highlight>
                <a:latin typeface="+mj-lt"/>
              </a:rPr>
              <a:t>-</a:t>
            </a:r>
            <a:r>
              <a:rPr lang="es-PE" sz="2000" b="1" dirty="0" err="1">
                <a:highlight>
                  <a:srgbClr val="C0C0C0"/>
                </a:highlight>
                <a:latin typeface="+mj-lt"/>
              </a:rPr>
              <a:t>XX:MaxRAM</a:t>
            </a:r>
            <a:r>
              <a:rPr lang="es-PE" sz="2000" b="1" dirty="0">
                <a:highlight>
                  <a:srgbClr val="C0C0C0"/>
                </a:highlight>
                <a:latin typeface="+mj-lt"/>
              </a:rPr>
              <a:t>=200m</a:t>
            </a:r>
            <a:r>
              <a:rPr lang="es-PE" sz="2000" dirty="0">
                <a:latin typeface="+mj-lt"/>
              </a:rPr>
              <a:t>: Limita el uso máximo de RAM.</a:t>
            </a:r>
          </a:p>
        </p:txBody>
      </p:sp>
    </p:spTree>
    <p:extLst>
      <p:ext uri="{BB962C8B-B14F-4D97-AF65-F5344CB8AC3E}">
        <p14:creationId xmlns:p14="http://schemas.microsoft.com/office/powerpoint/2010/main" val="3648995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26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36005" y="2132856"/>
            <a:ext cx="7052606" cy="1648341"/>
          </a:xfrm>
        </p:spPr>
        <p:txBody>
          <a:bodyPr/>
          <a:lstStyle/>
          <a:p>
            <a:pPr algn="ctr"/>
            <a:r>
              <a:rPr lang="es-ES" b="1" dirty="0">
                <a:latin typeface="+mj-lt"/>
              </a:rPr>
              <a:t>Ajustes en Spring </a:t>
            </a:r>
            <a:r>
              <a:rPr lang="es-ES" b="1" dirty="0" err="1">
                <a:latin typeface="+mj-lt"/>
              </a:rPr>
              <a:t>Boot</a:t>
            </a:r>
            <a:r>
              <a:rPr lang="es-ES" b="1" dirty="0">
                <a:latin typeface="+mj-lt"/>
              </a:rPr>
              <a:t> para Mejorar el Rendimiento</a:t>
            </a:r>
            <a:endParaRPr lang="es-PE" b="1" dirty="0">
              <a:latin typeface="+mj-lt"/>
            </a:endParaRPr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097687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116" name="Marcador de texto 5">
            <a:extLst>
              <a:ext uri="{FF2B5EF4-FFF2-40B4-BE49-F238E27FC236}">
                <a16:creationId xmlns:a16="http://schemas.microsoft.com/office/drawing/2014/main" id="{C3E5C041-906E-40C9-B97A-7636B1A88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00" y="365709"/>
            <a:ext cx="11519451" cy="251520"/>
          </a:xfrm>
        </p:spPr>
        <p:txBody>
          <a:bodyPr/>
          <a:lstStyle/>
          <a:p>
            <a:pPr algn="l"/>
            <a:r>
              <a:rPr lang="es-ES" b="1" dirty="0">
                <a:latin typeface="+mj-lt"/>
              </a:rPr>
              <a:t>Ajustes en Spring </a:t>
            </a:r>
            <a:r>
              <a:rPr lang="es-ES" b="1" dirty="0" err="1">
                <a:latin typeface="+mj-lt"/>
              </a:rPr>
              <a:t>Boot</a:t>
            </a:r>
            <a:r>
              <a:rPr lang="es-ES" b="1" dirty="0">
                <a:latin typeface="+mj-lt"/>
              </a:rPr>
              <a:t> para Mejorar el Rendimiento</a:t>
            </a:r>
            <a:endParaRPr lang="es-PE" b="1" i="0" dirty="0">
              <a:effectLst/>
              <a:latin typeface="+mj-lt"/>
            </a:endParaRPr>
          </a:p>
        </p:txBody>
      </p:sp>
      <p:sp>
        <p:nvSpPr>
          <p:cNvPr id="7" name="Título 4">
            <a:extLst>
              <a:ext uri="{FF2B5EF4-FFF2-40B4-BE49-F238E27FC236}">
                <a16:creationId xmlns:a16="http://schemas.microsoft.com/office/drawing/2014/main" id="{FDEDA976-390C-6E0E-7ED7-7D490C980BB4}"/>
              </a:ext>
            </a:extLst>
          </p:cNvPr>
          <p:cNvSpPr txBox="1">
            <a:spLocks/>
          </p:cNvSpPr>
          <p:nvPr/>
        </p:nvSpPr>
        <p:spPr>
          <a:xfrm>
            <a:off x="335355" y="1124744"/>
            <a:ext cx="11161245" cy="14401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pPr algn="ctr"/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endParaRPr lang="es-PE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C92320D-0968-620C-C283-529B15D5F014}"/>
              </a:ext>
            </a:extLst>
          </p:cNvPr>
          <p:cNvSpPr txBox="1"/>
          <p:nvPr/>
        </p:nvSpPr>
        <p:spPr>
          <a:xfrm>
            <a:off x="214731" y="697332"/>
            <a:ext cx="79544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2800" dirty="0">
                <a:latin typeface="+mj-lt"/>
              </a:rPr>
              <a:t>Propiedades clave en Spring </a:t>
            </a:r>
            <a:r>
              <a:rPr lang="es-ES" sz="2800" dirty="0" err="1">
                <a:latin typeface="+mj-lt"/>
              </a:rPr>
              <a:t>Boot</a:t>
            </a:r>
            <a:endParaRPr lang="es-ES" sz="2800" b="0" i="0" dirty="0">
              <a:effectLst/>
              <a:latin typeface="+mj-lt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F9C98B9-5294-A621-77B8-05A5D34F930D}"/>
              </a:ext>
            </a:extLst>
          </p:cNvPr>
          <p:cNvSpPr txBox="1"/>
          <p:nvPr/>
        </p:nvSpPr>
        <p:spPr>
          <a:xfrm>
            <a:off x="214731" y="1316360"/>
            <a:ext cx="11161245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s-ES" sz="2000" dirty="0">
                <a:latin typeface="+mj-lt"/>
              </a:rPr>
              <a:t>- </a:t>
            </a:r>
            <a:r>
              <a:rPr lang="es-ES" sz="2000" b="1" dirty="0">
                <a:latin typeface="+mj-lt"/>
              </a:rPr>
              <a:t>SERVER_TOMCAT_ACCEPT_COUNT</a:t>
            </a:r>
            <a:r>
              <a:rPr lang="es-ES" sz="2000" dirty="0">
                <a:latin typeface="+mj-lt"/>
              </a:rPr>
              <a:t>: Reduce la longitud de la cola de conexiones entrantes.</a:t>
            </a:r>
          </a:p>
          <a:p>
            <a:pPr algn="l">
              <a:lnSpc>
                <a:spcPct val="150000"/>
              </a:lnSpc>
            </a:pPr>
            <a:r>
              <a:rPr lang="es-ES" sz="2000" dirty="0">
                <a:latin typeface="+mj-lt"/>
              </a:rPr>
              <a:t>- </a:t>
            </a:r>
            <a:r>
              <a:rPr lang="es-ES" sz="2000" b="1" dirty="0">
                <a:latin typeface="+mj-lt"/>
              </a:rPr>
              <a:t>SERVER_TOMCAT_MAX_CONNECTIONS</a:t>
            </a:r>
            <a:r>
              <a:rPr lang="es-ES" sz="2000" dirty="0">
                <a:latin typeface="+mj-lt"/>
              </a:rPr>
              <a:t>: Limita el número máximo de conexiones.</a:t>
            </a:r>
          </a:p>
          <a:p>
            <a:pPr algn="l">
              <a:lnSpc>
                <a:spcPct val="150000"/>
              </a:lnSpc>
            </a:pPr>
            <a:r>
              <a:rPr lang="es-ES" sz="2000" dirty="0">
                <a:latin typeface="+mj-lt"/>
              </a:rPr>
              <a:t>- </a:t>
            </a:r>
            <a:r>
              <a:rPr lang="es-ES" sz="2000" b="1" dirty="0">
                <a:latin typeface="+mj-lt"/>
              </a:rPr>
              <a:t>SERVER_TOMCAT_THREADS_MAX</a:t>
            </a:r>
            <a:r>
              <a:rPr lang="es-ES" sz="2000" dirty="0">
                <a:latin typeface="+mj-lt"/>
              </a:rPr>
              <a:t>: Controla el número máximo de hilos.</a:t>
            </a:r>
          </a:p>
          <a:p>
            <a:pPr algn="l">
              <a:lnSpc>
                <a:spcPct val="150000"/>
              </a:lnSpc>
            </a:pPr>
            <a:r>
              <a:rPr lang="es-ES" sz="2000" dirty="0">
                <a:latin typeface="+mj-lt"/>
              </a:rPr>
              <a:t>- </a:t>
            </a:r>
            <a:r>
              <a:rPr lang="es-ES" sz="2000" b="1" dirty="0">
                <a:latin typeface="+mj-lt"/>
              </a:rPr>
              <a:t>SPRING_MAIN_LAZY_INITIALIZATION</a:t>
            </a:r>
            <a:r>
              <a:rPr lang="es-ES" sz="2000" dirty="0">
                <a:latin typeface="+mj-lt"/>
              </a:rPr>
              <a:t>: Mejora el tiempo de arranque retrasando la creación de </a:t>
            </a:r>
            <a:r>
              <a:rPr lang="es-ES" sz="2000" dirty="0" err="1">
                <a:latin typeface="+mj-lt"/>
              </a:rPr>
              <a:t>beans</a:t>
            </a:r>
            <a:r>
              <a:rPr lang="es-ES" sz="2000" dirty="0">
                <a:latin typeface="+mj-lt"/>
              </a:rPr>
              <a:t>.</a:t>
            </a:r>
          </a:p>
          <a:p>
            <a:pPr algn="l"/>
            <a:endParaRPr lang="es-ES" sz="2800" b="0" i="0" dirty="0">
              <a:effectLst/>
              <a:latin typeface="+mj-lt"/>
            </a:endParaRPr>
          </a:p>
          <a:p>
            <a:pPr algn="l"/>
            <a:endParaRPr lang="es-ES" sz="2800" dirty="0">
              <a:latin typeface="+mj-lt"/>
            </a:endParaRPr>
          </a:p>
          <a:p>
            <a:pPr algn="l"/>
            <a:endParaRPr lang="es-ES" sz="2800" b="0" i="0" dirty="0">
              <a:effectLst/>
              <a:latin typeface="+mj-lt"/>
            </a:endParaRPr>
          </a:p>
        </p:txBody>
      </p:sp>
      <p:pic>
        <p:nvPicPr>
          <p:cNvPr id="1026" name="Picture 2" descr="What is Tomcat? Everything You Need to Know">
            <a:extLst>
              <a:ext uri="{FF2B5EF4-FFF2-40B4-BE49-F238E27FC236}">
                <a16:creationId xmlns:a16="http://schemas.microsoft.com/office/drawing/2014/main" id="{09907738-BF2A-4E3E-C5CC-81F64BDF0F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024" y="4293097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hat are some alternatives to Jetty? - StackShare">
            <a:extLst>
              <a:ext uri="{FF2B5EF4-FFF2-40B4-BE49-F238E27FC236}">
                <a16:creationId xmlns:a16="http://schemas.microsoft.com/office/drawing/2014/main" id="{D9C70EC4-E798-AB6F-E10B-0355721B00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9145" y="3988297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WildFly Web Server Archives - Page 3 of 8 - Mastertheboss">
            <a:extLst>
              <a:ext uri="{FF2B5EF4-FFF2-40B4-BE49-F238E27FC236}">
                <a16:creationId xmlns:a16="http://schemas.microsoft.com/office/drawing/2014/main" id="{2606029F-7E8C-B7E5-E688-A00F6824E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1350" y="4274605"/>
            <a:ext cx="2137420" cy="107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41249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26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/>
              <a:t>05</a:t>
            </a:r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214C3182-A055-842C-516D-86EA6D4D19BE}"/>
              </a:ext>
            </a:extLst>
          </p:cNvPr>
          <p:cNvSpPr txBox="1">
            <a:spLocks/>
          </p:cNvSpPr>
          <p:nvPr/>
        </p:nvSpPr>
        <p:spPr>
          <a:xfrm>
            <a:off x="336005" y="1503240"/>
            <a:ext cx="7052606" cy="2357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s-ES" b="1" dirty="0">
                <a:latin typeface="+mj-lt"/>
              </a:rPr>
              <a:t>Docker </a:t>
            </a:r>
            <a:r>
              <a:rPr lang="es-ES" b="1" dirty="0" err="1">
                <a:latin typeface="+mj-lt"/>
              </a:rPr>
              <a:t>Compose</a:t>
            </a:r>
            <a:r>
              <a:rPr lang="es-ES" b="1" dirty="0">
                <a:latin typeface="+mj-lt"/>
              </a:rPr>
              <a:t>: Limitación de Recursos en Contenedores</a:t>
            </a:r>
            <a:endParaRPr lang="es-PE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977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116" name="Marcador de texto 5">
            <a:extLst>
              <a:ext uri="{FF2B5EF4-FFF2-40B4-BE49-F238E27FC236}">
                <a16:creationId xmlns:a16="http://schemas.microsoft.com/office/drawing/2014/main" id="{C3E5C041-906E-40C9-B97A-7636B1A88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00" y="365709"/>
            <a:ext cx="11519451" cy="251520"/>
          </a:xfrm>
        </p:spPr>
        <p:txBody>
          <a:bodyPr/>
          <a:lstStyle/>
          <a:p>
            <a:r>
              <a:rPr lang="es-ES" b="1" dirty="0">
                <a:latin typeface="+mj-lt"/>
              </a:rPr>
              <a:t>Docker </a:t>
            </a:r>
            <a:r>
              <a:rPr lang="es-ES" b="1" dirty="0" err="1">
                <a:latin typeface="+mj-lt"/>
              </a:rPr>
              <a:t>Compose</a:t>
            </a:r>
            <a:r>
              <a:rPr lang="es-ES" b="1" dirty="0">
                <a:latin typeface="+mj-lt"/>
              </a:rPr>
              <a:t>: Limitación de Recursos en Contenedores</a:t>
            </a:r>
            <a:endParaRPr lang="es-PE" b="1" dirty="0">
              <a:latin typeface="+mj-lt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BBBBD0F-4BC8-1C9C-6AD8-5267E17880D9}"/>
              </a:ext>
            </a:extLst>
          </p:cNvPr>
          <p:cNvSpPr txBox="1"/>
          <p:nvPr/>
        </p:nvSpPr>
        <p:spPr>
          <a:xfrm>
            <a:off x="2711624" y="2564904"/>
            <a:ext cx="55480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0" b="1" dirty="0">
                <a:solidFill>
                  <a:schemeClr val="bg1"/>
                </a:solidFill>
                <a:latin typeface="Arial Black" panose="020B0A04020102020204" pitchFamily="34" charset="0"/>
              </a:rPr>
              <a:t>DEMO</a:t>
            </a:r>
            <a:endParaRPr lang="es-PE" sz="8000" b="1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C78DCC4-4BD3-3733-7624-9D70398070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4732" y="875943"/>
            <a:ext cx="5982535" cy="5106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3951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26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36005" y="1592921"/>
            <a:ext cx="7052606" cy="683951"/>
          </a:xfrm>
        </p:spPr>
        <p:txBody>
          <a:bodyPr/>
          <a:lstStyle/>
          <a:p>
            <a:pPr algn="ctr"/>
            <a:r>
              <a:rPr lang="es-PE" b="1" i="0" dirty="0">
                <a:effectLst/>
                <a:latin typeface="+mj-lt"/>
              </a:rPr>
              <a:t>DEMOSTRACI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/>
              <a:t>06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4D2F5D7-B911-38E0-A05C-5BEC82F2A6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8456" y="2636912"/>
            <a:ext cx="4896544" cy="256981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0C4CEF08-0959-EFA7-74BC-E4E5BDFDC5B3}"/>
              </a:ext>
            </a:extLst>
          </p:cNvPr>
          <p:cNvSpPr txBox="1"/>
          <p:nvPr/>
        </p:nvSpPr>
        <p:spPr>
          <a:xfrm>
            <a:off x="551384" y="5373216"/>
            <a:ext cx="6837227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PE" dirty="0">
                <a:hlinkClick r:id="rId8"/>
              </a:rPr>
              <a:t>https://github.com/darkmtrance/spring-boot-memory-optimizatio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9793987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6483E9-DC47-D4A4-9B7A-D11677F318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221559C-1647-6C43-3972-77DE5FB378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4CCBE5E6-86EA-79F1-24DD-8A4C6C1C16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26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7BD2695-7067-3DBE-2F92-9202DC6391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013" y="1412776"/>
            <a:ext cx="7052606" cy="683951"/>
          </a:xfrm>
        </p:spPr>
        <p:txBody>
          <a:bodyPr/>
          <a:lstStyle/>
          <a:p>
            <a:pPr algn="ctr"/>
            <a:r>
              <a:rPr lang="es-PE" b="1" dirty="0">
                <a:latin typeface="+mj-lt"/>
              </a:rPr>
              <a:t>Monitoreo y Mejora Continua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F7AE2AC-A0C1-81E7-C274-9A0D4883E3D3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/>
              <a:t>07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65EC25A-1DAE-4BD1-5E67-77DF0E29C3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3512" y="2276872"/>
            <a:ext cx="3885874" cy="3809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5755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116" name="Marcador de texto 5">
            <a:extLst>
              <a:ext uri="{FF2B5EF4-FFF2-40B4-BE49-F238E27FC236}">
                <a16:creationId xmlns:a16="http://schemas.microsoft.com/office/drawing/2014/main" id="{C3E5C041-906E-40C9-B97A-7636B1A88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00" y="365709"/>
            <a:ext cx="11519451" cy="251520"/>
          </a:xfrm>
        </p:spPr>
        <p:txBody>
          <a:bodyPr/>
          <a:lstStyle/>
          <a:p>
            <a:endParaRPr lang="es-ES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76C2F8F-CBDC-5E4B-4E8C-36A92B5A1A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32304" y="3717032"/>
            <a:ext cx="2708133" cy="2589528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E9E9BEF6-C7C5-66E7-2968-D18E26986E86}"/>
              </a:ext>
            </a:extLst>
          </p:cNvPr>
          <p:cNvSpPr txBox="1"/>
          <p:nvPr/>
        </p:nvSpPr>
        <p:spPr>
          <a:xfrm>
            <a:off x="228696" y="1700808"/>
            <a:ext cx="11123888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s-PE" b="0" i="0" u="sng" dirty="0">
                <a:solidFill>
                  <a:srgbClr val="242424"/>
                </a:solidFill>
                <a:effectLst/>
                <a:latin typeface="source-serif-pro"/>
                <a:hlinkClick r:id="rId8"/>
              </a:rPr>
              <a:t>https://docs.spring.io/spring-boot/docs/current/reference/html/application-properties.html</a:t>
            </a:r>
            <a:endParaRPr lang="es-PE" b="0" i="0" dirty="0">
              <a:solidFill>
                <a:srgbClr val="242424"/>
              </a:solidFill>
              <a:effectLst/>
              <a:latin typeface="source-serif-pro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F14309D-1114-A9B8-C4E4-DAA0941E2F6C}"/>
              </a:ext>
            </a:extLst>
          </p:cNvPr>
          <p:cNvSpPr txBox="1"/>
          <p:nvPr/>
        </p:nvSpPr>
        <p:spPr>
          <a:xfrm>
            <a:off x="242866" y="1012150"/>
            <a:ext cx="1327158" cy="3692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Referencias</a:t>
            </a:r>
            <a:r>
              <a:rPr lang="en-US" dirty="0"/>
              <a:t>:</a:t>
            </a:r>
            <a:endParaRPr lang="es-PE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AB97B80-6A58-49C6-C84A-D31C09C3DC04}"/>
              </a:ext>
            </a:extLst>
          </p:cNvPr>
          <p:cNvSpPr txBox="1"/>
          <p:nvPr/>
        </p:nvSpPr>
        <p:spPr>
          <a:xfrm>
            <a:off x="242865" y="2268666"/>
            <a:ext cx="11297571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s-PE" b="0" i="0" u="sng" dirty="0">
                <a:solidFill>
                  <a:srgbClr val="242424"/>
                </a:solidFill>
                <a:effectLst/>
                <a:latin typeface="source-serif-pro"/>
                <a:hlinkClick r:id="rId9"/>
              </a:rPr>
              <a:t>https://tomcat.apache.org/tomcat-8.5-doc/config/http.html</a:t>
            </a:r>
            <a:endParaRPr lang="es-PE" b="0" i="0" dirty="0">
              <a:solidFill>
                <a:srgbClr val="242424"/>
              </a:solidFill>
              <a:effectLst/>
              <a:latin typeface="source-serif-pro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C43D018-DBC8-6EFD-0C86-3C67BCA77DC8}"/>
              </a:ext>
            </a:extLst>
          </p:cNvPr>
          <p:cNvSpPr txBox="1"/>
          <p:nvPr/>
        </p:nvSpPr>
        <p:spPr>
          <a:xfrm>
            <a:off x="242866" y="2836524"/>
            <a:ext cx="11297571" cy="369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s-PE" b="0" i="0" u="sng" dirty="0">
                <a:solidFill>
                  <a:srgbClr val="242424"/>
                </a:solidFill>
                <a:effectLst/>
                <a:latin typeface="source-serif-pro"/>
                <a:hlinkClick r:id="rId10"/>
              </a:rPr>
              <a:t>https://www.atamanroman.dev/development/2018/11/10/jvm-memory-settings-container-environment.html</a:t>
            </a:r>
            <a:endParaRPr lang="es-PE" b="0" i="0" dirty="0">
              <a:solidFill>
                <a:srgbClr val="242424"/>
              </a:solidFill>
              <a:effectLst/>
              <a:latin typeface="source-serif-pro"/>
            </a:endParaRPr>
          </a:p>
        </p:txBody>
      </p:sp>
    </p:spTree>
    <p:extLst>
      <p:ext uri="{BB962C8B-B14F-4D97-AF65-F5344CB8AC3E}">
        <p14:creationId xmlns:p14="http://schemas.microsoft.com/office/powerpoint/2010/main" val="40354385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¡Gracias!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34A56F0-7253-270F-D7ED-A8F1BA0329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400" y="2204864"/>
            <a:ext cx="2008282" cy="2008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9769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408BF8B-7896-9648-B447-E9B094688D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014" y="2585145"/>
            <a:ext cx="5094279" cy="306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12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3ED197C2-37A4-C0A7-9637-58440532C7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864" y="991910"/>
            <a:ext cx="2796158" cy="37282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ítulo 5"/>
          <p:cNvSpPr>
            <a:spLocks noGrp="1"/>
          </p:cNvSpPr>
          <p:nvPr>
            <p:ph type="title"/>
          </p:nvPr>
        </p:nvSpPr>
        <p:spPr>
          <a:xfrm>
            <a:off x="6672064" y="1759858"/>
            <a:ext cx="4464495" cy="36920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CO" sz="2400" dirty="0"/>
              <a:t>Michael Tomaylla Mendoza</a:t>
            </a:r>
            <a:br>
              <a:rPr lang="es-CO" dirty="0"/>
            </a:br>
            <a:endParaRPr lang="es-CO" sz="1867" dirty="0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0584B06C-1782-2AB7-1E47-A12A24926429}"/>
              </a:ext>
            </a:extLst>
          </p:cNvPr>
          <p:cNvSpPr txBox="1"/>
          <p:nvPr/>
        </p:nvSpPr>
        <p:spPr>
          <a:xfrm>
            <a:off x="6581142" y="2129039"/>
            <a:ext cx="49552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dirty="0">
                <a:latin typeface="+mj-lt"/>
                <a:ea typeface="+mj-ea"/>
                <a:cs typeface="+mj-cs"/>
              </a:rPr>
              <a:t>Arquitecto TI, Software </a:t>
            </a:r>
            <a:r>
              <a:rPr lang="es-PE" sz="2400" dirty="0" err="1">
                <a:latin typeface="+mj-lt"/>
                <a:ea typeface="+mj-ea"/>
                <a:cs typeface="+mj-cs"/>
              </a:rPr>
              <a:t>Engineer</a:t>
            </a:r>
            <a:r>
              <a:rPr lang="es-PE" sz="2400" dirty="0">
                <a:latin typeface="+mj-lt"/>
                <a:ea typeface="+mj-ea"/>
                <a:cs typeface="+mj-cs"/>
              </a:rPr>
              <a:t> 3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58293DCA-5E14-CDC5-C296-4B4E1456CD68}"/>
              </a:ext>
            </a:extLst>
          </p:cNvPr>
          <p:cNvSpPr/>
          <p:nvPr/>
        </p:nvSpPr>
        <p:spPr>
          <a:xfrm>
            <a:off x="2848432" y="5013176"/>
            <a:ext cx="900000" cy="900000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B689B547-43F0-70FD-72C0-771E1F16F28F}"/>
              </a:ext>
            </a:extLst>
          </p:cNvPr>
          <p:cNvSpPr/>
          <p:nvPr/>
        </p:nvSpPr>
        <p:spPr>
          <a:xfrm>
            <a:off x="3942669" y="5013176"/>
            <a:ext cx="900000" cy="900000"/>
          </a:xfrm>
          <a:prstGeom prst="ellipse">
            <a:avLst/>
          </a:prstGeom>
          <a:blipFill>
            <a:blip r:embed="rId5"/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AA4669CE-9C9E-B8E3-E5DF-DAC937E067C4}"/>
              </a:ext>
            </a:extLst>
          </p:cNvPr>
          <p:cNvSpPr/>
          <p:nvPr/>
        </p:nvSpPr>
        <p:spPr>
          <a:xfrm>
            <a:off x="5036906" y="4995226"/>
            <a:ext cx="900000" cy="900000"/>
          </a:xfrm>
          <a:prstGeom prst="ellipse">
            <a:avLst/>
          </a:prstGeom>
          <a:blipFill>
            <a:blip r:embed="rId6"/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44A07B3A-B018-AE20-1E74-233B4755647F}"/>
              </a:ext>
            </a:extLst>
          </p:cNvPr>
          <p:cNvSpPr/>
          <p:nvPr/>
        </p:nvSpPr>
        <p:spPr>
          <a:xfrm>
            <a:off x="7225378" y="5013176"/>
            <a:ext cx="900000" cy="900000"/>
          </a:xfrm>
          <a:prstGeom prst="ellipse">
            <a:avLst/>
          </a:prstGeom>
          <a:blipFill>
            <a:blip r:embed="rId7"/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CE6279C1-7933-AEFD-D635-542697928995}"/>
              </a:ext>
            </a:extLst>
          </p:cNvPr>
          <p:cNvSpPr/>
          <p:nvPr/>
        </p:nvSpPr>
        <p:spPr>
          <a:xfrm>
            <a:off x="8319614" y="4995226"/>
            <a:ext cx="900000" cy="900000"/>
          </a:xfrm>
          <a:prstGeom prst="ellipse">
            <a:avLst/>
          </a:prstGeom>
          <a:blipFill>
            <a:blip r:embed="rId8"/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7" name="Imagen 26">
            <a:extLst>
              <a:ext uri="{FF2B5EF4-FFF2-40B4-BE49-F238E27FC236}">
                <a16:creationId xmlns:a16="http://schemas.microsoft.com/office/drawing/2014/main" id="{A6FD23B4-884B-8408-6F01-DC27A65743D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4196" y="5013176"/>
            <a:ext cx="900000" cy="900000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5957A2F2-033E-2653-7C20-209B8229FB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31142" y="4995226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95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/>
          <p:cNvSpPr>
            <a:spLocks noGrp="1"/>
          </p:cNvSpPr>
          <p:nvPr>
            <p:ph type="body" sz="quarter" idx="4294967295"/>
          </p:nvPr>
        </p:nvSpPr>
        <p:spPr>
          <a:xfrm>
            <a:off x="335360" y="2204864"/>
            <a:ext cx="7598280" cy="345638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s-MX" sz="1800" dirty="0">
                <a:latin typeface="+mj-lt"/>
                <a:cs typeface="Arial" panose="020B0604020202020204" pitchFamily="34" charset="0"/>
              </a:rPr>
              <a:t>01. </a:t>
            </a:r>
            <a:r>
              <a:rPr lang="es-ES" sz="1800" dirty="0">
                <a:latin typeface="+mj-lt"/>
                <a:cs typeface="Arial" panose="020B0604020202020204" pitchFamily="34" charset="0"/>
              </a:rPr>
              <a:t>Objetivo</a:t>
            </a:r>
          </a:p>
          <a:p>
            <a:pPr marL="0" indent="0">
              <a:buNone/>
            </a:pPr>
            <a:r>
              <a:rPr lang="es-MX" sz="1800" dirty="0">
                <a:latin typeface="+mj-lt"/>
                <a:cs typeface="Arial" panose="020B0604020202020204" pitchFamily="34" charset="0"/>
              </a:rPr>
              <a:t>02. </a:t>
            </a:r>
            <a:r>
              <a:rPr lang="es-ES" sz="1800" dirty="0">
                <a:latin typeface="+mj-lt"/>
                <a:cs typeface="Arial" panose="020B0604020202020204" pitchFamily="34" charset="0"/>
              </a:rPr>
              <a:t>Contexto: Desafíos en Aplicaciones Spring </a:t>
            </a:r>
            <a:r>
              <a:rPr lang="es-ES" sz="1800" dirty="0" err="1">
                <a:latin typeface="+mj-lt"/>
                <a:cs typeface="Arial" panose="020B0604020202020204" pitchFamily="34" charset="0"/>
              </a:rPr>
              <a:t>Boot</a:t>
            </a:r>
            <a:endParaRPr lang="es-MX" sz="1800" dirty="0">
              <a:latin typeface="+mj-lt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s-MX" sz="1800" dirty="0">
                <a:latin typeface="+mj-lt"/>
                <a:cs typeface="Arial" panose="020B0604020202020204" pitchFamily="34" charset="0"/>
              </a:rPr>
              <a:t>03. </a:t>
            </a:r>
            <a:r>
              <a:rPr lang="es-ES" sz="1800" dirty="0">
                <a:latin typeface="+mj-lt"/>
                <a:cs typeface="Arial" panose="020B0604020202020204" pitchFamily="34" charset="0"/>
              </a:rPr>
              <a:t>Optimización de la JVM para Aplicaciones Spring </a:t>
            </a:r>
            <a:r>
              <a:rPr lang="es-ES" sz="1800" dirty="0" err="1">
                <a:latin typeface="+mj-lt"/>
                <a:cs typeface="Arial" panose="020B0604020202020204" pitchFamily="34" charset="0"/>
              </a:rPr>
              <a:t>Boot</a:t>
            </a:r>
            <a:r>
              <a:rPr lang="es-MX" sz="1800" dirty="0">
                <a:latin typeface="+mj-lt"/>
                <a:cs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r>
              <a:rPr lang="es-MX" sz="1800" dirty="0">
                <a:latin typeface="+mj-lt"/>
                <a:cs typeface="Arial" panose="020B0604020202020204" pitchFamily="34" charset="0"/>
              </a:rPr>
              <a:t>04. </a:t>
            </a:r>
            <a:r>
              <a:rPr lang="es-ES" sz="1800" dirty="0">
                <a:latin typeface="+mj-lt"/>
                <a:cs typeface="Arial" panose="020B0604020202020204" pitchFamily="34" charset="0"/>
              </a:rPr>
              <a:t>Ajustes en Spring </a:t>
            </a:r>
            <a:r>
              <a:rPr lang="es-ES" sz="1800" dirty="0" err="1">
                <a:latin typeface="+mj-lt"/>
                <a:cs typeface="Arial" panose="020B0604020202020204" pitchFamily="34" charset="0"/>
              </a:rPr>
              <a:t>Boot</a:t>
            </a:r>
            <a:r>
              <a:rPr lang="es-ES" sz="1800" dirty="0">
                <a:latin typeface="+mj-lt"/>
                <a:cs typeface="Arial" panose="020B0604020202020204" pitchFamily="34" charset="0"/>
              </a:rPr>
              <a:t> para Mejorar el Rendimiento</a:t>
            </a:r>
            <a:endParaRPr lang="es-MX" sz="1800" dirty="0">
              <a:latin typeface="+mj-lt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s-MX" sz="1800" dirty="0">
                <a:latin typeface="+mj-lt"/>
                <a:cs typeface="Arial" panose="020B0604020202020204" pitchFamily="34" charset="0"/>
              </a:rPr>
              <a:t>05. </a:t>
            </a:r>
            <a:r>
              <a:rPr lang="es-ES" sz="1800" dirty="0">
                <a:latin typeface="+mj-lt"/>
                <a:cs typeface="Arial" panose="020B0604020202020204" pitchFamily="34" charset="0"/>
              </a:rPr>
              <a:t>Docker </a:t>
            </a:r>
            <a:r>
              <a:rPr lang="es-ES" sz="1800" dirty="0" err="1">
                <a:latin typeface="+mj-lt"/>
                <a:cs typeface="Arial" panose="020B0604020202020204" pitchFamily="34" charset="0"/>
              </a:rPr>
              <a:t>Compose</a:t>
            </a:r>
            <a:r>
              <a:rPr lang="es-ES" sz="1800" dirty="0">
                <a:latin typeface="+mj-lt"/>
                <a:cs typeface="Arial" panose="020B0604020202020204" pitchFamily="34" charset="0"/>
              </a:rPr>
              <a:t>: Limitación de Recursos en Contenedores</a:t>
            </a:r>
            <a:endParaRPr lang="es-MX" sz="1800" dirty="0">
              <a:latin typeface="+mj-lt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s-MX" sz="1800" dirty="0">
                <a:latin typeface="+mj-lt"/>
                <a:cs typeface="Arial" panose="020B0604020202020204" pitchFamily="34" charset="0"/>
              </a:rPr>
              <a:t>06. </a:t>
            </a:r>
            <a:r>
              <a:rPr lang="es-PE" sz="1800" dirty="0">
                <a:latin typeface="+mj-lt"/>
                <a:cs typeface="Arial" panose="020B0604020202020204" pitchFamily="34" charset="0"/>
              </a:rPr>
              <a:t>Demostración</a:t>
            </a:r>
            <a:endParaRPr lang="es-MX" sz="1800" dirty="0">
              <a:latin typeface="+mj-lt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s-MX" sz="1800" dirty="0">
                <a:latin typeface="+mj-lt"/>
                <a:cs typeface="Arial" panose="020B0604020202020204" pitchFamily="34" charset="0"/>
              </a:rPr>
              <a:t>07. </a:t>
            </a:r>
            <a:r>
              <a:rPr lang="es-PE" sz="1800" dirty="0">
                <a:latin typeface="+mj-lt"/>
                <a:cs typeface="Arial" panose="020B0604020202020204" pitchFamily="34" charset="0"/>
              </a:rPr>
              <a:t>Monitoreo y Mejora Continua</a:t>
            </a:r>
            <a:endParaRPr lang="es-MX" sz="18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Título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Georgia" panose="02040502050405020303" pitchFamily="18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20074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26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36005" y="1592921"/>
            <a:ext cx="7052606" cy="755959"/>
          </a:xfrm>
        </p:spPr>
        <p:txBody>
          <a:bodyPr/>
          <a:lstStyle/>
          <a:p>
            <a:pPr algn="ctr"/>
            <a:r>
              <a:rPr lang="es-MX" b="1" dirty="0">
                <a:latin typeface="+mj-lt"/>
                <a:cs typeface="Arial" panose="020B0604020202020204" pitchFamily="34" charset="0"/>
              </a:rPr>
              <a:t>Objetivo</a:t>
            </a:r>
            <a:br>
              <a:rPr lang="es-MX" b="1" dirty="0">
                <a:latin typeface="+mj-lt"/>
                <a:cs typeface="Arial" panose="020B0604020202020204" pitchFamily="34" charset="0"/>
              </a:rPr>
            </a:br>
            <a:br>
              <a:rPr lang="es-MX" b="1" dirty="0"/>
            </a:br>
            <a:endParaRPr lang="es-ES" b="1" dirty="0"/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654946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116" name="Marcador de texto 5">
            <a:extLst>
              <a:ext uri="{FF2B5EF4-FFF2-40B4-BE49-F238E27FC236}">
                <a16:creationId xmlns:a16="http://schemas.microsoft.com/office/drawing/2014/main" id="{C3E5C041-906E-40C9-B97A-7636B1A88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00" y="302859"/>
            <a:ext cx="11519451" cy="251520"/>
          </a:xfrm>
        </p:spPr>
        <p:txBody>
          <a:bodyPr/>
          <a:lstStyle/>
          <a:p>
            <a:r>
              <a:rPr lang="es-ES" sz="1000" dirty="0">
                <a:latin typeface="+mj-lt"/>
                <a:cs typeface="Arial" pitchFamily="34" charset="0"/>
              </a:rPr>
              <a:t>Objetivo</a:t>
            </a:r>
            <a:endParaRPr lang="es-ES" dirty="0"/>
          </a:p>
        </p:txBody>
      </p:sp>
      <p:sp>
        <p:nvSpPr>
          <p:cNvPr id="7" name="Título 4">
            <a:extLst>
              <a:ext uri="{FF2B5EF4-FFF2-40B4-BE49-F238E27FC236}">
                <a16:creationId xmlns:a16="http://schemas.microsoft.com/office/drawing/2014/main" id="{FDEDA976-390C-6E0E-7ED7-7D490C980BB4}"/>
              </a:ext>
            </a:extLst>
          </p:cNvPr>
          <p:cNvSpPr txBox="1">
            <a:spLocks/>
          </p:cNvSpPr>
          <p:nvPr/>
        </p:nvSpPr>
        <p:spPr>
          <a:xfrm>
            <a:off x="335355" y="1124744"/>
            <a:ext cx="11161245" cy="14401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pPr algn="ctr"/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endParaRPr lang="es-PE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305EC321-5E9C-7C95-5FE3-1DF2DAE6EF5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815354"/>
            <a:ext cx="10803957" cy="11014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PE" altLang="es-PE" dirty="0">
                <a:latin typeface="+mj-lt"/>
              </a:rPr>
              <a:t>- </a:t>
            </a:r>
            <a:r>
              <a:rPr kumimoji="0" lang="es-PE" altLang="es-P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Reducir el consumo de memoria y CPU en aplicaciones Spring </a:t>
            </a:r>
            <a:r>
              <a:rPr kumimoji="0" lang="es-PE" altLang="es-P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Boot</a:t>
            </a:r>
            <a:r>
              <a:rPr kumimoji="0" lang="es-PE" altLang="es-P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s-PE" altLang="es-P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- Optimizar el entorno local de desarrollo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s-PE" altLang="es-P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- Aprovechar Docker y Docker </a:t>
            </a:r>
            <a:r>
              <a:rPr kumimoji="0" lang="es-PE" altLang="es-PE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ompose</a:t>
            </a:r>
            <a:r>
              <a:rPr kumimoji="0" lang="es-PE" altLang="es-PE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para entornos en contenedores. </a:t>
            </a:r>
          </a:p>
        </p:txBody>
      </p:sp>
      <p:pic>
        <p:nvPicPr>
          <p:cNvPr id="1027" name="Picture 3" descr="Graphic showing a developer working on a local site on a local machine.">
            <a:extLst>
              <a:ext uri="{FF2B5EF4-FFF2-40B4-BE49-F238E27FC236}">
                <a16:creationId xmlns:a16="http://schemas.microsoft.com/office/drawing/2014/main" id="{96416F3C-480B-01CE-BDFB-6890FD2145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992" y="2218090"/>
            <a:ext cx="4001969" cy="4001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20136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26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86939" y="1866086"/>
            <a:ext cx="6605017" cy="1130865"/>
          </a:xfrm>
        </p:spPr>
        <p:txBody>
          <a:bodyPr/>
          <a:lstStyle/>
          <a:p>
            <a:pPr algn="ctr"/>
            <a:r>
              <a:rPr lang="es-ES" b="1" dirty="0">
                <a:latin typeface="+mj-lt"/>
                <a:cs typeface="Arial" panose="020B0604020202020204" pitchFamily="34" charset="0"/>
              </a:rPr>
              <a:t>Desafíos en Aplicaciones Spring </a:t>
            </a:r>
            <a:r>
              <a:rPr lang="es-ES" b="1" dirty="0" err="1">
                <a:latin typeface="+mj-lt"/>
                <a:cs typeface="Arial" panose="020B0604020202020204" pitchFamily="34" charset="0"/>
              </a:rPr>
              <a:t>Boot</a:t>
            </a:r>
            <a:endParaRPr lang="es-ES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565657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116" name="Marcador de texto 5">
            <a:extLst>
              <a:ext uri="{FF2B5EF4-FFF2-40B4-BE49-F238E27FC236}">
                <a16:creationId xmlns:a16="http://schemas.microsoft.com/office/drawing/2014/main" id="{C3E5C041-906E-40C9-B97A-7636B1A88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00" y="365709"/>
            <a:ext cx="11519451" cy="251520"/>
          </a:xfrm>
        </p:spPr>
        <p:txBody>
          <a:bodyPr/>
          <a:lstStyle/>
          <a:p>
            <a:r>
              <a:rPr lang="es-ES" b="1" dirty="0">
                <a:latin typeface="+mj-lt"/>
                <a:cs typeface="Arial" panose="020B0604020202020204" pitchFamily="34" charset="0"/>
              </a:rPr>
              <a:t>Desafíos en Aplicaciones Spring </a:t>
            </a:r>
            <a:r>
              <a:rPr lang="es-ES" b="1" dirty="0" err="1">
                <a:latin typeface="+mj-lt"/>
                <a:cs typeface="Arial" panose="020B0604020202020204" pitchFamily="34" charset="0"/>
              </a:rPr>
              <a:t>Boot</a:t>
            </a:r>
            <a:endParaRPr lang="es-ES" dirty="0"/>
          </a:p>
        </p:txBody>
      </p:sp>
      <p:sp>
        <p:nvSpPr>
          <p:cNvPr id="7" name="Título 4">
            <a:extLst>
              <a:ext uri="{FF2B5EF4-FFF2-40B4-BE49-F238E27FC236}">
                <a16:creationId xmlns:a16="http://schemas.microsoft.com/office/drawing/2014/main" id="{FDEDA976-390C-6E0E-7ED7-7D490C980BB4}"/>
              </a:ext>
            </a:extLst>
          </p:cNvPr>
          <p:cNvSpPr txBox="1">
            <a:spLocks/>
          </p:cNvSpPr>
          <p:nvPr/>
        </p:nvSpPr>
        <p:spPr>
          <a:xfrm>
            <a:off x="335355" y="1124744"/>
            <a:ext cx="11161245" cy="14401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pPr algn="ctr"/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endParaRPr lang="es-PE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2491EC57-C582-A28B-B339-3D9935AF312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550" y="805562"/>
            <a:ext cx="11304066" cy="2239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PE" altLang="es-PE" dirty="0">
                <a:latin typeface="+mj-lt"/>
              </a:rPr>
              <a:t>- </a:t>
            </a:r>
            <a:r>
              <a:rPr lang="es-PE" dirty="0">
                <a:latin typeface="+mj-lt"/>
              </a:rPr>
              <a:t>Aumento del consumo de memoria al agregar dependencias.</a:t>
            </a:r>
            <a:endParaRPr lang="es-PE" altLang="es-PE" dirty="0"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PE" altLang="es-PE" dirty="0">
                <a:latin typeface="+mj-lt"/>
              </a:rPr>
              <a:t>- </a:t>
            </a:r>
            <a:r>
              <a:rPr lang="es-ES" dirty="0">
                <a:latin typeface="+mj-lt"/>
              </a:rPr>
              <a:t>Problemas al ejecutar múltiples microservicios en una PC local</a:t>
            </a:r>
            <a:r>
              <a:rPr lang="es-PE" altLang="es-PE" dirty="0">
                <a:latin typeface="+mj-lt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PE" altLang="es-PE" dirty="0">
                <a:latin typeface="+mj-lt"/>
              </a:rPr>
              <a:t>- </a:t>
            </a:r>
            <a:r>
              <a:rPr lang="es-ES" dirty="0">
                <a:latin typeface="+mj-lt"/>
              </a:rPr>
              <a:t>Configuraciones predeterminadas de Spring </a:t>
            </a:r>
            <a:r>
              <a:rPr lang="es-ES" dirty="0" err="1">
                <a:latin typeface="+mj-lt"/>
              </a:rPr>
              <a:t>Boot</a:t>
            </a:r>
            <a:r>
              <a:rPr lang="es-ES" dirty="0">
                <a:latin typeface="+mj-lt"/>
              </a:rPr>
              <a:t> y JVM que no están optimizadas para desarrollo local.</a:t>
            </a:r>
            <a:endParaRPr lang="es-PE" altLang="es-P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59159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426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36005" y="1592921"/>
            <a:ext cx="7052606" cy="4716399"/>
          </a:xfrm>
        </p:spPr>
        <p:txBody>
          <a:bodyPr/>
          <a:lstStyle/>
          <a:p>
            <a:pPr algn="ctr"/>
            <a:br>
              <a:rPr lang="es-PE" b="1" i="0" dirty="0">
                <a:effectLst/>
                <a:latin typeface="+mj-lt"/>
              </a:rPr>
            </a:br>
            <a:r>
              <a:rPr lang="es-ES" b="1" dirty="0">
                <a:latin typeface="+mj-lt"/>
              </a:rPr>
              <a:t>Optimización de la JVM para Aplicaciones Spring </a:t>
            </a:r>
            <a:r>
              <a:rPr lang="es-ES" b="1" dirty="0" err="1">
                <a:latin typeface="+mj-lt"/>
              </a:rPr>
              <a:t>Boot</a:t>
            </a:r>
            <a:endParaRPr lang="es-PE" b="1" dirty="0">
              <a:latin typeface="+mj-lt"/>
            </a:endParaRPr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s-ES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4036682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DDC81E-55AC-A3D3-A145-EE8079C70D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0E4CC1A-458B-E33E-9C9B-51FDCC8DE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291" y="390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1" y="3902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438E4881-BE2A-CBCC-E486-91BB46A028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5" y="1786"/>
            <a:ext cx="211556" cy="211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37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1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116" name="Marcador de texto 5">
            <a:extLst>
              <a:ext uri="{FF2B5EF4-FFF2-40B4-BE49-F238E27FC236}">
                <a16:creationId xmlns:a16="http://schemas.microsoft.com/office/drawing/2014/main" id="{4E28302E-69BD-54F1-B61D-3D4411E585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6000" y="365709"/>
            <a:ext cx="11519451" cy="251520"/>
          </a:xfrm>
        </p:spPr>
        <p:txBody>
          <a:bodyPr/>
          <a:lstStyle/>
          <a:p>
            <a:r>
              <a:rPr lang="es-ES" b="1" dirty="0">
                <a:latin typeface="+mj-lt"/>
              </a:rPr>
              <a:t>Optimización de la JVM para Aplicaciones Spring </a:t>
            </a:r>
            <a:r>
              <a:rPr lang="es-ES" b="1" dirty="0" err="1">
                <a:latin typeface="+mj-lt"/>
              </a:rPr>
              <a:t>Boot</a:t>
            </a:r>
            <a:endParaRPr lang="es-ES" dirty="0"/>
          </a:p>
        </p:txBody>
      </p:sp>
      <p:sp>
        <p:nvSpPr>
          <p:cNvPr id="7" name="Título 4">
            <a:extLst>
              <a:ext uri="{FF2B5EF4-FFF2-40B4-BE49-F238E27FC236}">
                <a16:creationId xmlns:a16="http://schemas.microsoft.com/office/drawing/2014/main" id="{EDC45CFF-C4D6-4C26-723A-023F2FF1B4A5}"/>
              </a:ext>
            </a:extLst>
          </p:cNvPr>
          <p:cNvSpPr txBox="1">
            <a:spLocks/>
          </p:cNvSpPr>
          <p:nvPr/>
        </p:nvSpPr>
        <p:spPr>
          <a:xfrm>
            <a:off x="335355" y="1124744"/>
            <a:ext cx="11161245" cy="14401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pPr algn="ctr"/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br>
              <a:rPr lang="es-ES" dirty="0">
                <a:latin typeface="Soho Gothic Pro Light" panose="020B0303030504020204" pitchFamily="34" charset="77"/>
                <a:ea typeface="+mn-ea"/>
                <a:cs typeface="+mn-cs"/>
              </a:rPr>
            </a:br>
            <a:endParaRPr lang="es-PE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D12F3DCE-A4FE-C254-A2F8-9F079800ACA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550" y="805563"/>
            <a:ext cx="11428413" cy="679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s-PE" sz="2800" dirty="0"/>
              <a:t>¿Quién consume la memoria?</a:t>
            </a:r>
            <a:endParaRPr lang="es-PE" altLang="es-PE" sz="2800" dirty="0">
              <a:latin typeface="Arial" panose="020B0604020202020204" pitchFamily="34" charset="0"/>
            </a:endParaRPr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5DD5378B-662A-260C-FE6D-483B7F13D438}"/>
              </a:ext>
            </a:extLst>
          </p:cNvPr>
          <p:cNvSpPr txBox="1">
            <a:spLocks/>
          </p:cNvSpPr>
          <p:nvPr/>
        </p:nvSpPr>
        <p:spPr>
          <a:xfrm>
            <a:off x="351911" y="1484784"/>
            <a:ext cx="6176138" cy="38164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38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Playfair Display" pitchFamily="2" charset="77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es-ES" sz="1800" dirty="0">
                <a:latin typeface="+mj-lt"/>
              </a:rPr>
              <a:t>La JVM es la responsable.</a:t>
            </a: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es-ES" sz="1800" dirty="0">
                <a:latin typeface="+mj-lt"/>
              </a:rPr>
              <a:t>Sus componentes que consumen memoria:</a:t>
            </a:r>
          </a:p>
          <a:p>
            <a:pPr marL="799795" lvl="1" indent="-342900">
              <a:lnSpc>
                <a:spcPct val="150000"/>
              </a:lnSpc>
              <a:buFontTx/>
              <a:buChar char="-"/>
            </a:pPr>
            <a:r>
              <a:rPr lang="es-ES" sz="1800" dirty="0" err="1">
                <a:latin typeface="+mj-lt"/>
              </a:rPr>
              <a:t>Heap</a:t>
            </a:r>
            <a:r>
              <a:rPr lang="es-ES" sz="1800" dirty="0">
                <a:latin typeface="+mj-lt"/>
              </a:rPr>
              <a:t>: Memoria para objetos creados.</a:t>
            </a:r>
          </a:p>
          <a:p>
            <a:pPr marL="799795" lvl="1" indent="-342900">
              <a:lnSpc>
                <a:spcPct val="150000"/>
              </a:lnSpc>
              <a:buFontTx/>
              <a:buChar char="-"/>
            </a:pPr>
            <a:r>
              <a:rPr lang="es-ES" sz="1800" dirty="0">
                <a:latin typeface="+mj-lt"/>
              </a:rPr>
              <a:t>Meta </a:t>
            </a:r>
            <a:r>
              <a:rPr lang="es-ES" sz="1800" dirty="0" err="1">
                <a:latin typeface="+mj-lt"/>
              </a:rPr>
              <a:t>Space</a:t>
            </a:r>
            <a:r>
              <a:rPr lang="es-ES" sz="1800" dirty="0">
                <a:latin typeface="+mj-lt"/>
              </a:rPr>
              <a:t>: Memoria para clases cargadas.</a:t>
            </a:r>
          </a:p>
          <a:p>
            <a:pPr marL="799795" lvl="1" indent="-342900">
              <a:lnSpc>
                <a:spcPct val="150000"/>
              </a:lnSpc>
              <a:buFontTx/>
              <a:buChar char="-"/>
            </a:pPr>
            <a:r>
              <a:rPr lang="es-ES" sz="1800" dirty="0" err="1">
                <a:latin typeface="+mj-lt"/>
              </a:rPr>
              <a:t>Stack</a:t>
            </a:r>
            <a:r>
              <a:rPr lang="es-ES" sz="1800" dirty="0">
                <a:latin typeface="+mj-lt"/>
              </a:rPr>
              <a:t> per </a:t>
            </a:r>
            <a:r>
              <a:rPr lang="es-ES" sz="1800" dirty="0" err="1">
                <a:latin typeface="+mj-lt"/>
              </a:rPr>
              <a:t>Thread</a:t>
            </a:r>
            <a:r>
              <a:rPr lang="es-ES" sz="1800" dirty="0">
                <a:latin typeface="+mj-lt"/>
              </a:rPr>
              <a:t>: Memoria utilizada por cada hilo.</a:t>
            </a:r>
          </a:p>
          <a:p>
            <a:pPr marL="799795" lvl="1" indent="-342900">
              <a:lnSpc>
                <a:spcPct val="150000"/>
              </a:lnSpc>
              <a:buFontTx/>
              <a:buChar char="-"/>
            </a:pPr>
            <a:endParaRPr lang="es-ES" dirty="0">
              <a:latin typeface="+mj-lt"/>
            </a:endParaRP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es-ES" sz="1800" dirty="0">
                <a:latin typeface="+mj-lt"/>
              </a:rPr>
              <a:t>Total de memoria consumida = </a:t>
            </a:r>
            <a:r>
              <a:rPr lang="es-ES" sz="1800" dirty="0" err="1">
                <a:latin typeface="+mj-lt"/>
              </a:rPr>
              <a:t>Heap</a:t>
            </a:r>
            <a:r>
              <a:rPr lang="es-ES" sz="1800" dirty="0">
                <a:latin typeface="+mj-lt"/>
              </a:rPr>
              <a:t> + Meta </a:t>
            </a:r>
            <a:r>
              <a:rPr lang="es-ES" sz="1800" dirty="0" err="1">
                <a:latin typeface="+mj-lt"/>
              </a:rPr>
              <a:t>Space</a:t>
            </a:r>
            <a:r>
              <a:rPr lang="es-ES" sz="1800" dirty="0">
                <a:latin typeface="+mj-lt"/>
              </a:rPr>
              <a:t> + </a:t>
            </a:r>
            <a:r>
              <a:rPr lang="es-ES" sz="1800" dirty="0" err="1">
                <a:latin typeface="+mj-lt"/>
              </a:rPr>
              <a:t>Stack</a:t>
            </a:r>
            <a:r>
              <a:rPr lang="es-ES" sz="1800" dirty="0">
                <a:latin typeface="+mj-lt"/>
              </a:rPr>
              <a:t> per </a:t>
            </a:r>
            <a:r>
              <a:rPr lang="es-ES" sz="1800" dirty="0" err="1">
                <a:latin typeface="+mj-lt"/>
              </a:rPr>
              <a:t>Thread</a:t>
            </a:r>
            <a:r>
              <a:rPr lang="es-ES" sz="1800" dirty="0">
                <a:latin typeface="+mj-lt"/>
              </a:rPr>
              <a:t> x hilos + Otros.</a:t>
            </a:r>
            <a:endParaRPr lang="es-PE" sz="1800" dirty="0">
              <a:latin typeface="+mj-lt"/>
            </a:endParaRPr>
          </a:p>
          <a:p>
            <a:pPr marL="799795" lvl="1" indent="-342900">
              <a:buFontTx/>
              <a:buChar char="-"/>
            </a:pPr>
            <a:endParaRPr lang="es-ES" sz="1800" dirty="0">
              <a:latin typeface="+mj-lt"/>
            </a:endParaRPr>
          </a:p>
        </p:txBody>
      </p:sp>
      <p:pic>
        <p:nvPicPr>
          <p:cNvPr id="4098" name="Picture 2" descr="JVM Memory Usage">
            <a:extLst>
              <a:ext uri="{FF2B5EF4-FFF2-40B4-BE49-F238E27FC236}">
                <a16:creationId xmlns:a16="http://schemas.microsoft.com/office/drawing/2014/main" id="{6005B1AD-5833-C6A2-33C5-3AAD7790A3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12" y="1574958"/>
            <a:ext cx="4188206" cy="3222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7934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jW6fRS3C2H6NBcEieI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zzifNeQZaP82kFVtKo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zNusTSL6d1FPJyJ8DN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AlJed8T.msxbLvcD7z7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Dzil4qTsOyg6YuDd2j0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Dzil4qTsOyg6YuDd2j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Dzil4qTsOyg6YuDd2j0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Dzil4qTsOyg6YuDd2j0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Dzil4qTsOyg6YuDd2j0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blEuQeSpqI_k7tkardI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Dzil4qTsOyg6YuDd2j0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Dzil4qTsOyg6YuDd2j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Rq.1AS1Ob7ZPiL560.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3102018" id="{5C41357B-7313-429A-8D70-51EB5220553A}" vid="{D77268EC-2466-4A95-A82B-DEA9D01E7CF1}"/>
    </a:ext>
  </a:extLst>
</a:theme>
</file>

<file path=ppt/theme/theme2.xml><?xml version="1.0" encoding="utf-8"?>
<a:theme xmlns:a="http://schemas.openxmlformats.org/drawingml/2006/main" name="1_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B33B83192E2FC459A30670C423A9DCD" ma:contentTypeVersion="11" ma:contentTypeDescription="Crear nuevo documento." ma:contentTypeScope="" ma:versionID="69793439263fee6cd7dd10a7db7250c3">
  <xsd:schema xmlns:xsd="http://www.w3.org/2001/XMLSchema" xmlns:xs="http://www.w3.org/2001/XMLSchema" xmlns:p="http://schemas.microsoft.com/office/2006/metadata/properties" xmlns:ns3="4a07feb3-3d40-4ea9-8a43-ecd60aa80211" xmlns:ns4="80d8454e-a9b9-4abc-826c-bfc9ee3761cb" targetNamespace="http://schemas.microsoft.com/office/2006/metadata/properties" ma:root="true" ma:fieldsID="9bedd76ebbd7977ebb39be2194f01888" ns3:_="" ns4:_="">
    <xsd:import namespace="4a07feb3-3d40-4ea9-8a43-ecd60aa80211"/>
    <xsd:import namespace="80d8454e-a9b9-4abc-826c-bfc9ee3761c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07feb3-3d40-4ea9-8a43-ecd60aa802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d8454e-a9b9-4abc-826c-bfc9ee3761c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63F18C-307E-4AC0-9CDE-E3FA0D81B2B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07feb3-3d40-4ea9-8a43-ecd60aa80211"/>
    <ds:schemaRef ds:uri="80d8454e-a9b9-4abc-826c-bfc9ee3761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C1CC6C-8DBA-4FDF-8400-BD30364A575B}">
  <ds:schemaRefs>
    <ds:schemaRef ds:uri="http://schemas.microsoft.com/office/infopath/2007/PartnerControls"/>
    <ds:schemaRef ds:uri="http://schemas.openxmlformats.org/package/2006/metadata/core-properties"/>
    <ds:schemaRef ds:uri="80d8454e-a9b9-4abc-826c-bfc9ee3761cb"/>
    <ds:schemaRef ds:uri="http://www.w3.org/XML/1998/namespace"/>
    <ds:schemaRef ds:uri="http://purl.org/dc/terms/"/>
    <ds:schemaRef ds:uri="http://schemas.microsoft.com/office/2006/documentManagement/types"/>
    <ds:schemaRef ds:uri="4a07feb3-3d40-4ea9-8a43-ecd60aa80211"/>
    <ds:schemaRef ds:uri="http://purl.org/dc/elements/1.1/"/>
    <ds:schemaRef ds:uri="http://purl.org/dc/dcmitype/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DD157E2C-922C-4945-9AD1-13809A074C9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Minsait_externa_03102018 (3)</Template>
  <TotalTime>80407</TotalTime>
  <Words>517</Words>
  <Application>Microsoft Office PowerPoint</Application>
  <PresentationFormat>Panorámica</PresentationFormat>
  <Paragraphs>87</Paragraphs>
  <Slides>19</Slides>
  <Notes>18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30" baseType="lpstr">
      <vt:lpstr>Arial</vt:lpstr>
      <vt:lpstr>Arial Black</vt:lpstr>
      <vt:lpstr>Georgia</vt:lpstr>
      <vt:lpstr>Playfair Display</vt:lpstr>
      <vt:lpstr>Söhne</vt:lpstr>
      <vt:lpstr>Soho Gothic Pro</vt:lpstr>
      <vt:lpstr>Soho Gothic Pro Light</vt:lpstr>
      <vt:lpstr>source-serif-pro</vt:lpstr>
      <vt:lpstr>Portadas</vt:lpstr>
      <vt:lpstr>1_Portadas</vt:lpstr>
      <vt:lpstr>Diapositiva de think-cell</vt:lpstr>
      <vt:lpstr>Optimización de Spring Boot: Eficiencia en Desarrollo y Contenedores</vt:lpstr>
      <vt:lpstr>Michael Tomaylla Mendoza </vt:lpstr>
      <vt:lpstr>Agenda</vt:lpstr>
      <vt:lpstr>Objetivo  </vt:lpstr>
      <vt:lpstr>- Reducir el consumo de memoria y CPU en aplicaciones Spring Boot. - Optimizar el entorno local de desarrollo. - Aprovechar Docker y Docker Compose para entornos en contenedores. </vt:lpstr>
      <vt:lpstr>Desafíos en Aplicaciones Spring Boot</vt:lpstr>
      <vt:lpstr>- Aumento del consumo de memoria al agregar dependencias. - Problemas al ejecutar múltiples microservicios en una PC local. - Configuraciones predeterminadas de Spring Boot y JVM que no están optimizadas para desarrollo local.</vt:lpstr>
      <vt:lpstr> Optimización de la JVM para Aplicaciones Spring Boot</vt:lpstr>
      <vt:lpstr>¿Quién consume la memoria?</vt:lpstr>
      <vt:lpstr>Parámetros de JVM para Optimizar Memoria</vt:lpstr>
      <vt:lpstr>Ajustes en Spring Boot para Mejorar el Rendimiento</vt:lpstr>
      <vt:lpstr>Presentación de PowerPoint</vt:lpstr>
      <vt:lpstr>Presentación de PowerPoint</vt:lpstr>
      <vt:lpstr>Presentación de PowerPoint</vt:lpstr>
      <vt:lpstr>DEMOSTRACIÓN</vt:lpstr>
      <vt:lpstr>Monitoreo y Mejora Continua</vt:lpstr>
      <vt:lpstr>Presentación de PowerPoint</vt:lpstr>
      <vt:lpstr>¡Gracias!</vt:lpstr>
      <vt:lpstr>Presentación de PowerPoint</vt:lpstr>
    </vt:vector>
  </TitlesOfParts>
  <Company>Indra Sistemas 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Paramo Muñiz, Jose Luis</dc:creator>
  <cp:lastModifiedBy>Michael Antonio Tomaylla Mendoza</cp:lastModifiedBy>
  <cp:revision>735</cp:revision>
  <cp:lastPrinted>2018-09-05T10:32:03Z</cp:lastPrinted>
  <dcterms:created xsi:type="dcterms:W3CDTF">2020-07-10T07:37:50Z</dcterms:created>
  <dcterms:modified xsi:type="dcterms:W3CDTF">2024-10-24T20:5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33B83192E2FC459A30670C423A9DCD</vt:lpwstr>
  </property>
</Properties>
</file>